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</p:sldMasterIdLst>
  <p:notesMasterIdLst>
    <p:notesMasterId r:id="rId17"/>
  </p:notesMasterIdLst>
  <p:sldIdLst>
    <p:sldId id="257" r:id="rId6"/>
    <p:sldId id="4574" r:id="rId7"/>
    <p:sldId id="258" r:id="rId8"/>
    <p:sldId id="4571" r:id="rId9"/>
    <p:sldId id="266" r:id="rId10"/>
    <p:sldId id="263" r:id="rId11"/>
    <p:sldId id="270" r:id="rId12"/>
    <p:sldId id="4572" r:id="rId13"/>
    <p:sldId id="264" r:id="rId14"/>
    <p:sldId id="265" r:id="rId15"/>
    <p:sldId id="271" r:id="rId1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rt Tekke" initials="RT" lastIdx="1" clrIdx="0">
    <p:extLst>
      <p:ext uri="{19B8F6BF-5375-455C-9EA6-DF929625EA0E}">
        <p15:presenceInfo xmlns:p15="http://schemas.microsoft.com/office/powerpoint/2012/main" userId="S::rmh.tekke@pzh.nl::8ddb6dc6-3bca-40ac-9034-46c574acf84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DD5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48427D-159D-4E56-85C7-62E7A07AB57F}" v="18" dt="2023-06-13T07:53:56.043"/>
    <p1510:client id="{5C9AFB08-4FD2-43B8-8FC3-7A3B937E62F8}" v="4" dt="2023-06-13T07:01:14.343"/>
    <p1510:client id="{96820F77-9F2A-4826-8839-6FA5248796CA}" v="29" dt="2023-06-13T06:49:57.4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2109" autoAdjust="0"/>
  </p:normalViewPr>
  <p:slideViewPr>
    <p:cSldViewPr snapToGrid="0">
      <p:cViewPr varScale="1">
        <p:scale>
          <a:sx n="93" d="100"/>
          <a:sy n="93" d="100"/>
        </p:scale>
        <p:origin x="121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scal van Dam" userId="b531e1f7-1442-4769-a01f-680bcf827801" providerId="ADAL" clId="{3A48427D-159D-4E56-85C7-62E7A07AB57F}"/>
    <pc:docChg chg="undo custSel addSld delSld modSld delMainMaster">
      <pc:chgData name="Pascal van Dam" userId="b531e1f7-1442-4769-a01f-680bcf827801" providerId="ADAL" clId="{3A48427D-159D-4E56-85C7-62E7A07AB57F}" dt="2023-06-13T14:03:12.676" v="525" actId="47"/>
      <pc:docMkLst>
        <pc:docMk/>
      </pc:docMkLst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56"/>
        </pc:sldMkLst>
      </pc:sldChg>
      <pc:sldChg chg="del">
        <pc:chgData name="Pascal van Dam" userId="b531e1f7-1442-4769-a01f-680bcf827801" providerId="ADAL" clId="{3A48427D-159D-4E56-85C7-62E7A07AB57F}" dt="2023-06-13T07:44:46.055" v="201" actId="47"/>
        <pc:sldMkLst>
          <pc:docMk/>
          <pc:sldMk cId="941102560" sldId="259"/>
        </pc:sldMkLst>
      </pc:sldChg>
      <pc:sldChg chg="add del setBg modNotes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60"/>
        </pc:sldMkLst>
      </pc:sldChg>
      <pc:sldChg chg="add del setBg modNotes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61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62"/>
        </pc:sldMkLst>
      </pc:sldChg>
      <pc:sldChg chg="add del setBg modNotes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67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268"/>
        </pc:sldMkLst>
      </pc:sldChg>
      <pc:sldChg chg="del">
        <pc:chgData name="Pascal van Dam" userId="b531e1f7-1442-4769-a01f-680bcf827801" providerId="ADAL" clId="{3A48427D-159D-4E56-85C7-62E7A07AB57F}" dt="2023-06-13T07:44:34.135" v="200" actId="47"/>
        <pc:sldMkLst>
          <pc:docMk/>
          <pc:sldMk cId="4121537433" sldId="272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2034847661" sldId="313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2467696644" sldId="316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1491204984" sldId="318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588811905" sldId="329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2861764327" sldId="330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3893138626" sldId="331"/>
        </pc:sldMkLst>
      </pc:sldChg>
      <pc:sldChg chg="modSp add del mod">
        <pc:chgData name="Pascal van Dam" userId="b531e1f7-1442-4769-a01f-680bcf827801" providerId="ADAL" clId="{3A48427D-159D-4E56-85C7-62E7A07AB57F}" dt="2023-06-13T14:03:12.676" v="525" actId="47"/>
        <pc:sldMkLst>
          <pc:docMk/>
          <pc:sldMk cId="2240144309" sldId="333"/>
        </pc:sldMkLst>
        <pc:spChg chg="mod">
          <ac:chgData name="Pascal van Dam" userId="b531e1f7-1442-4769-a01f-680bcf827801" providerId="ADAL" clId="{3A48427D-159D-4E56-85C7-62E7A07AB57F}" dt="2023-06-13T07:53:43.742" v="226"/>
          <ac:spMkLst>
            <pc:docMk/>
            <pc:sldMk cId="2240144309" sldId="333"/>
            <ac:spMk id="7" creationId="{23DB6D2F-B980-D2CB-B5C2-17490DD68B4F}"/>
          </ac:spMkLst>
        </pc:spChg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429059933" sldId="334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858356147" sldId="335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4257230774" sldId="336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1903247933" sldId="337"/>
        </pc:sldMkLst>
      </pc:sldChg>
      <pc:sldChg chg="modSp add del mod setBg">
        <pc:chgData name="Pascal van Dam" userId="b531e1f7-1442-4769-a01f-680bcf827801" providerId="ADAL" clId="{3A48427D-159D-4E56-85C7-62E7A07AB57F}" dt="2023-06-13T14:03:12.676" v="525" actId="47"/>
        <pc:sldMkLst>
          <pc:docMk/>
          <pc:sldMk cId="2278421553" sldId="338"/>
        </pc:sldMkLst>
        <pc:spChg chg="mod">
          <ac:chgData name="Pascal van Dam" userId="b531e1f7-1442-4769-a01f-680bcf827801" providerId="ADAL" clId="{3A48427D-159D-4E56-85C7-62E7A07AB57F}" dt="2023-06-13T07:33:35.660" v="184"/>
          <ac:spMkLst>
            <pc:docMk/>
            <pc:sldMk cId="2278421553" sldId="338"/>
            <ac:spMk id="2" creationId="{8F4C2B36-6D14-0745-8806-9F73F3EDD4AD}"/>
          </ac:spMkLst>
        </pc:spChg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1276825937" sldId="339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1406501020" sldId="340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2025855821" sldId="341"/>
        </pc:sldMkLst>
      </pc:sldChg>
      <pc:sldChg chg="modSp add del mod">
        <pc:chgData name="Pascal van Dam" userId="b531e1f7-1442-4769-a01f-680bcf827801" providerId="ADAL" clId="{3A48427D-159D-4E56-85C7-62E7A07AB57F}" dt="2023-06-13T14:03:12.676" v="525" actId="47"/>
        <pc:sldMkLst>
          <pc:docMk/>
          <pc:sldMk cId="2775329525" sldId="342"/>
        </pc:sldMkLst>
        <pc:spChg chg="mod">
          <ac:chgData name="Pascal van Dam" userId="b531e1f7-1442-4769-a01f-680bcf827801" providerId="ADAL" clId="{3A48427D-159D-4E56-85C7-62E7A07AB57F}" dt="2023-06-13T07:43:27.282" v="198"/>
          <ac:spMkLst>
            <pc:docMk/>
            <pc:sldMk cId="2775329525" sldId="342"/>
            <ac:spMk id="2" creationId="{2FD899C6-7712-79EF-F98C-FA83FA23D9C5}"/>
          </ac:spMkLst>
        </pc:spChg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2575766033" sldId="343"/>
        </pc:sldMkLst>
      </pc:sldChg>
      <pc:sldChg chg="modSp mod">
        <pc:chgData name="Pascal van Dam" userId="b531e1f7-1442-4769-a01f-680bcf827801" providerId="ADAL" clId="{3A48427D-159D-4E56-85C7-62E7A07AB57F}" dt="2023-06-13T07:47:13.564" v="222" actId="20577"/>
        <pc:sldMkLst>
          <pc:docMk/>
          <pc:sldMk cId="4035738828" sldId="4572"/>
        </pc:sldMkLst>
        <pc:spChg chg="mod">
          <ac:chgData name="Pascal van Dam" userId="b531e1f7-1442-4769-a01f-680bcf827801" providerId="ADAL" clId="{3A48427D-159D-4E56-85C7-62E7A07AB57F}" dt="2023-06-13T07:47:13.564" v="222" actId="20577"/>
          <ac:spMkLst>
            <pc:docMk/>
            <pc:sldMk cId="4035738828" sldId="4572"/>
            <ac:spMk id="8" creationId="{F5266D87-3A52-3DB6-5523-5C08D41E887F}"/>
          </ac:spMkLst>
        </pc:spChg>
      </pc:sldChg>
      <pc:sldChg chg="add del">
        <pc:chgData name="Pascal van Dam" userId="b531e1f7-1442-4769-a01f-680bcf827801" providerId="ADAL" clId="{3A48427D-159D-4E56-85C7-62E7A07AB57F}" dt="2023-06-13T07:33:00.514" v="180" actId="47"/>
        <pc:sldMkLst>
          <pc:docMk/>
          <pc:sldMk cId="0" sldId="4573"/>
        </pc:sldMkLst>
      </pc:sldChg>
      <pc:sldChg chg="new del">
        <pc:chgData name="Pascal van Dam" userId="b531e1f7-1442-4769-a01f-680bcf827801" providerId="ADAL" clId="{3A48427D-159D-4E56-85C7-62E7A07AB57F}" dt="2023-06-13T07:20:38.152" v="1" actId="47"/>
        <pc:sldMkLst>
          <pc:docMk/>
          <pc:sldMk cId="2722352837" sldId="4573"/>
        </pc:sldMkLst>
      </pc:sldChg>
      <pc:sldChg chg="add del">
        <pc:chgData name="Pascal van Dam" userId="b531e1f7-1442-4769-a01f-680bcf827801" providerId="ADAL" clId="{3A48427D-159D-4E56-85C7-62E7A07AB57F}" dt="2023-06-13T07:30:16.490" v="7" actId="47"/>
        <pc:sldMkLst>
          <pc:docMk/>
          <pc:sldMk cId="3624884671" sldId="4574"/>
        </pc:sldMkLst>
      </pc:sldChg>
      <pc:sldChg chg="modSp add mod">
        <pc:chgData name="Pascal van Dam" userId="b531e1f7-1442-4769-a01f-680bcf827801" providerId="ADAL" clId="{3A48427D-159D-4E56-85C7-62E7A07AB57F}" dt="2023-06-13T07:31:04.995" v="172" actId="20577"/>
        <pc:sldMkLst>
          <pc:docMk/>
          <pc:sldMk cId="3753060230" sldId="4574"/>
        </pc:sldMkLst>
        <pc:spChg chg="mod">
          <ac:chgData name="Pascal van Dam" userId="b531e1f7-1442-4769-a01f-680bcf827801" providerId="ADAL" clId="{3A48427D-159D-4E56-85C7-62E7A07AB57F}" dt="2023-06-13T07:30:27.981" v="17" actId="20577"/>
          <ac:spMkLst>
            <pc:docMk/>
            <pc:sldMk cId="3753060230" sldId="4574"/>
            <ac:spMk id="2" creationId="{AB6EE31A-79B8-C288-FE90-239C603B0D0D}"/>
          </ac:spMkLst>
        </pc:spChg>
        <pc:spChg chg="mod">
          <ac:chgData name="Pascal van Dam" userId="b531e1f7-1442-4769-a01f-680bcf827801" providerId="ADAL" clId="{3A48427D-159D-4E56-85C7-62E7A07AB57F}" dt="2023-06-13T07:31:04.995" v="172" actId="20577"/>
          <ac:spMkLst>
            <pc:docMk/>
            <pc:sldMk cId="3753060230" sldId="4574"/>
            <ac:spMk id="4" creationId="{C0A33313-DD87-2045-3201-6ED74F95DE73}"/>
          </ac:spMkLst>
        </pc:spChg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75"/>
        </pc:sldMkLst>
      </pc:sldChg>
      <pc:sldChg chg="new del">
        <pc:chgData name="Pascal van Dam" userId="b531e1f7-1442-4769-a01f-680bcf827801" providerId="ADAL" clId="{3A48427D-159D-4E56-85C7-62E7A07AB57F}" dt="2023-06-13T07:30:14.176" v="6" actId="47"/>
        <pc:sldMkLst>
          <pc:docMk/>
          <pc:sldMk cId="3511703153" sldId="4575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76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77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78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79"/>
        </pc:sldMkLst>
      </pc:sldChg>
      <pc:sldChg chg="add del setBg modNotes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80"/>
        </pc:sldMkLst>
      </pc:sldChg>
      <pc:sldChg chg="add del setBg modNotes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81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0" sldId="4582"/>
        </pc:sldMkLst>
      </pc:sldChg>
      <pc:sldChg chg="modSp add del mod">
        <pc:chgData name="Pascal van Dam" userId="b531e1f7-1442-4769-a01f-680bcf827801" providerId="ADAL" clId="{3A48427D-159D-4E56-85C7-62E7A07AB57F}" dt="2023-06-13T14:03:12.676" v="525" actId="47"/>
        <pc:sldMkLst>
          <pc:docMk/>
          <pc:sldMk cId="979669993" sldId="4583"/>
        </pc:sldMkLst>
        <pc:spChg chg="mod">
          <ac:chgData name="Pascal van Dam" userId="b531e1f7-1442-4769-a01f-680bcf827801" providerId="ADAL" clId="{3A48427D-159D-4E56-85C7-62E7A07AB57F}" dt="2023-06-13T07:43:27.282" v="198"/>
          <ac:spMkLst>
            <pc:docMk/>
            <pc:sldMk cId="979669993" sldId="4583"/>
            <ac:spMk id="4" creationId="{EC0E23F3-F167-77AA-A531-5F7B6AB981E3}"/>
          </ac:spMkLst>
        </pc:spChg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565814269" sldId="4584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1908860563" sldId="4585"/>
        </pc:sldMkLst>
      </pc:sldChg>
      <pc:sldChg chg="add del">
        <pc:chgData name="Pascal van Dam" userId="b531e1f7-1442-4769-a01f-680bcf827801" providerId="ADAL" clId="{3A48427D-159D-4E56-85C7-62E7A07AB57F}" dt="2023-06-13T14:03:12.676" v="525" actId="47"/>
        <pc:sldMkLst>
          <pc:docMk/>
          <pc:sldMk cId="69054178" sldId="4586"/>
        </pc:sldMkLst>
      </pc:sldChg>
      <pc:sldChg chg="addSp modSp add del mod">
        <pc:chgData name="Pascal van Dam" userId="b531e1f7-1442-4769-a01f-680bcf827801" providerId="ADAL" clId="{3A48427D-159D-4E56-85C7-62E7A07AB57F}" dt="2023-06-13T14:03:12.676" v="525" actId="47"/>
        <pc:sldMkLst>
          <pc:docMk/>
          <pc:sldMk cId="2295352361" sldId="4587"/>
        </pc:sldMkLst>
        <pc:spChg chg="mod">
          <ac:chgData name="Pascal van Dam" userId="b531e1f7-1442-4769-a01f-680bcf827801" providerId="ADAL" clId="{3A48427D-159D-4E56-85C7-62E7A07AB57F}" dt="2023-06-13T07:54:00.753" v="238" actId="20577"/>
          <ac:spMkLst>
            <pc:docMk/>
            <pc:sldMk cId="2295352361" sldId="4587"/>
            <ac:spMk id="2" creationId="{AB6EE31A-79B8-C288-FE90-239C603B0D0D}"/>
          </ac:spMkLst>
        </pc:spChg>
        <pc:spChg chg="mod">
          <ac:chgData name="Pascal van Dam" userId="b531e1f7-1442-4769-a01f-680bcf827801" providerId="ADAL" clId="{3A48427D-159D-4E56-85C7-62E7A07AB57F}" dt="2023-06-13T07:57:45.543" v="524" actId="20577"/>
          <ac:spMkLst>
            <pc:docMk/>
            <pc:sldMk cId="2295352361" sldId="4587"/>
            <ac:spMk id="4" creationId="{C0A33313-DD87-2045-3201-6ED74F95DE73}"/>
          </ac:spMkLst>
        </pc:spChg>
        <pc:picChg chg="add mod">
          <ac:chgData name="Pascal van Dam" userId="b531e1f7-1442-4769-a01f-680bcf827801" providerId="ADAL" clId="{3A48427D-159D-4E56-85C7-62E7A07AB57F}" dt="2023-06-13T07:56:26.210" v="469" actId="1076"/>
          <ac:picMkLst>
            <pc:docMk/>
            <pc:sldMk cId="2295352361" sldId="4587"/>
            <ac:picMk id="5" creationId="{272040ED-B601-C52B-F923-93D8BDBF7665}"/>
          </ac:picMkLst>
        </pc:picChg>
      </pc:sldChg>
      <pc:sldMasterChg chg="delSldLayout">
        <pc:chgData name="Pascal van Dam" userId="b531e1f7-1442-4769-a01f-680bcf827801" providerId="ADAL" clId="{3A48427D-159D-4E56-85C7-62E7A07AB57F}" dt="2023-06-13T07:33:00.514" v="180" actId="47"/>
        <pc:sldMasterMkLst>
          <pc:docMk/>
          <pc:sldMasterMk cId="1581376460" sldId="2147483660"/>
        </pc:sldMasterMkLst>
        <pc:sldLayoutChg chg="del">
          <pc:chgData name="Pascal van Dam" userId="b531e1f7-1442-4769-a01f-680bcf827801" providerId="ADAL" clId="{3A48427D-159D-4E56-85C7-62E7A07AB57F}" dt="2023-06-13T07:33:00.514" v="180" actId="47"/>
          <pc:sldLayoutMkLst>
            <pc:docMk/>
            <pc:sldMasterMk cId="1581376460" sldId="2147483660"/>
            <pc:sldLayoutMk cId="479774526" sldId="2147483701"/>
          </pc:sldLayoutMkLst>
        </pc:sldLayoutChg>
        <pc:sldLayoutChg chg="del">
          <pc:chgData name="Pascal van Dam" userId="b531e1f7-1442-4769-a01f-680bcf827801" providerId="ADAL" clId="{3A48427D-159D-4E56-85C7-62E7A07AB57F}" dt="2023-06-13T07:32:59.921" v="179" actId="47"/>
          <pc:sldLayoutMkLst>
            <pc:docMk/>
            <pc:sldMasterMk cId="1581376460" sldId="2147483660"/>
            <pc:sldLayoutMk cId="3016843413" sldId="2147483702"/>
          </pc:sldLayoutMkLst>
        </pc:sldLayoutChg>
        <pc:sldLayoutChg chg="del">
          <pc:chgData name="Pascal van Dam" userId="b531e1f7-1442-4769-a01f-680bcf827801" providerId="ADAL" clId="{3A48427D-159D-4E56-85C7-62E7A07AB57F}" dt="2023-06-13T07:32:57.593" v="174" actId="47"/>
          <pc:sldLayoutMkLst>
            <pc:docMk/>
            <pc:sldMasterMk cId="1581376460" sldId="2147483660"/>
            <pc:sldLayoutMk cId="3041438377" sldId="2147483703"/>
          </pc:sldLayoutMkLst>
        </pc:sldLayoutChg>
        <pc:sldLayoutChg chg="del">
          <pc:chgData name="Pascal van Dam" userId="b531e1f7-1442-4769-a01f-680bcf827801" providerId="ADAL" clId="{3A48427D-159D-4E56-85C7-62E7A07AB57F}" dt="2023-06-13T07:32:58.028" v="175" actId="47"/>
          <pc:sldLayoutMkLst>
            <pc:docMk/>
            <pc:sldMasterMk cId="1581376460" sldId="2147483660"/>
            <pc:sldLayoutMk cId="2150928289" sldId="2147483704"/>
          </pc:sldLayoutMkLst>
        </pc:sldLayoutChg>
        <pc:sldLayoutChg chg="del">
          <pc:chgData name="Pascal van Dam" userId="b531e1f7-1442-4769-a01f-680bcf827801" providerId="ADAL" clId="{3A48427D-159D-4E56-85C7-62E7A07AB57F}" dt="2023-06-13T07:32:58.549" v="176" actId="47"/>
          <pc:sldLayoutMkLst>
            <pc:docMk/>
            <pc:sldMasterMk cId="1581376460" sldId="2147483660"/>
            <pc:sldLayoutMk cId="3435572536" sldId="2147483705"/>
          </pc:sldLayoutMkLst>
        </pc:sldLayoutChg>
        <pc:sldLayoutChg chg="del">
          <pc:chgData name="Pascal van Dam" userId="b531e1f7-1442-4769-a01f-680bcf827801" providerId="ADAL" clId="{3A48427D-159D-4E56-85C7-62E7A07AB57F}" dt="2023-06-13T07:32:59.361" v="178" actId="47"/>
          <pc:sldLayoutMkLst>
            <pc:docMk/>
            <pc:sldMasterMk cId="1581376460" sldId="2147483660"/>
            <pc:sldLayoutMk cId="3018121635" sldId="2147483706"/>
          </pc:sldLayoutMkLst>
        </pc:sldLayoutChg>
      </pc:sldMasterChg>
      <pc:sldMasterChg chg="del delSldLayout">
        <pc:chgData name="Pascal van Dam" userId="b531e1f7-1442-4769-a01f-680bcf827801" providerId="ADAL" clId="{3A48427D-159D-4E56-85C7-62E7A07AB57F}" dt="2023-06-13T14:03:12.676" v="525" actId="47"/>
        <pc:sldMasterMkLst>
          <pc:docMk/>
          <pc:sldMasterMk cId="1052841047" sldId="2147483701"/>
        </pc:sldMasterMkLst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629163794" sldId="214748370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4152673644" sldId="214748370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557013098" sldId="214748370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480552948" sldId="214748370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852065252" sldId="214748370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12812435" sldId="214748370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4216257711" sldId="214748370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009554367" sldId="214748370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4051335501" sldId="214748371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301742366" sldId="214748371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70365582" sldId="214748371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538450487" sldId="214748371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598280284" sldId="214748371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310598045" sldId="214748371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724242088" sldId="214748371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568949433" sldId="214748371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592146618" sldId="214748371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4262039276" sldId="214748371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1622542937" sldId="214748372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064593015" sldId="214748372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2237274781" sldId="214748372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686974473" sldId="214748372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468768757" sldId="214748372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052841047" sldId="2147483701"/>
            <pc:sldLayoutMk cId="3863209192" sldId="2147483725"/>
          </pc:sldLayoutMkLst>
        </pc:sldLayoutChg>
      </pc:sldMasterChg>
      <pc:sldMasterChg chg="del delSldLayout">
        <pc:chgData name="Pascal van Dam" userId="b531e1f7-1442-4769-a01f-680bcf827801" providerId="ADAL" clId="{3A48427D-159D-4E56-85C7-62E7A07AB57F}" dt="2023-06-13T14:03:12.676" v="525" actId="47"/>
        <pc:sldMasterMkLst>
          <pc:docMk/>
          <pc:sldMasterMk cId="3790378261" sldId="2147483726"/>
        </pc:sldMasterMkLst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1073720873" sldId="214748372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619031324" sldId="214748372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1019569020" sldId="214748372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2412457013" sldId="214748373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2262522705" sldId="214748373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3929345020" sldId="214748373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1750035874" sldId="214748373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1432917852" sldId="214748373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1168380108" sldId="214748373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2483170854" sldId="214748373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3790378261" sldId="2147483726"/>
            <pc:sldLayoutMk cId="2452933371" sldId="2147483737"/>
          </pc:sldLayoutMkLst>
        </pc:sldLayoutChg>
      </pc:sldMasterChg>
      <pc:sldMasterChg chg="del delSldLayout">
        <pc:chgData name="Pascal van Dam" userId="b531e1f7-1442-4769-a01f-680bcf827801" providerId="ADAL" clId="{3A48427D-159D-4E56-85C7-62E7A07AB57F}" dt="2023-06-13T14:03:12.676" v="525" actId="47"/>
        <pc:sldMasterMkLst>
          <pc:docMk/>
          <pc:sldMasterMk cId="2390325042" sldId="2147483738"/>
        </pc:sldMasterMkLst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016314888" sldId="214748373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793269958" sldId="214748374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437227733" sldId="214748374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239964179" sldId="214748374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792676410" sldId="214748374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4019357133" sldId="214748374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878209151" sldId="214748374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487523422" sldId="214748374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830252696" sldId="214748374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317623405" sldId="214748374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306316064" sldId="214748374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4167307465" sldId="214748375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991208827" sldId="214748375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664373476" sldId="214748375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416320178" sldId="214748375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075310323" sldId="214748375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352342658" sldId="214748375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370917190" sldId="214748375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792514158" sldId="214748375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351383835" sldId="214748375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085516651" sldId="214748375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58734863" sldId="214748376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469781192" sldId="214748376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948472245" sldId="214748376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273219951" sldId="214748376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584997877" sldId="214748376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269389925" sldId="214748376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4125179350" sldId="214748376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299606075" sldId="214748376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627405061" sldId="214748376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794777897" sldId="214748376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894577623" sldId="214748377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056102316" sldId="214748377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264732192" sldId="214748377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318678653" sldId="214748377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115645565" sldId="214748377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63246432" sldId="214748377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732097732" sldId="214748377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3291705067" sldId="214748377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113547829" sldId="214748377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213078819" sldId="214748377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298832865" sldId="214748378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539344446" sldId="214748378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2390325042" sldId="2147483738"/>
            <pc:sldLayoutMk cId="1197555082" sldId="2147483782"/>
          </pc:sldLayoutMkLst>
        </pc:sldLayoutChg>
      </pc:sldMasterChg>
      <pc:sldMasterChg chg="del delSldLayout">
        <pc:chgData name="Pascal van Dam" userId="b531e1f7-1442-4769-a01f-680bcf827801" providerId="ADAL" clId="{3A48427D-159D-4E56-85C7-62E7A07AB57F}" dt="2023-06-13T14:03:12.676" v="525" actId="47"/>
        <pc:sldMasterMkLst>
          <pc:docMk/>
          <pc:sldMasterMk cId="1838443563" sldId="2147483783"/>
        </pc:sldMasterMkLst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846532196" sldId="214748378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3831390025" sldId="214748378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887358348" sldId="214748378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418288956" sldId="214748378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570980665" sldId="214748378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145801713" sldId="214748378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368060350" sldId="214748379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2378178747" sldId="214748379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745906908" sldId="214748379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675463971" sldId="2147483793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406540590" sldId="2147483794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493320411" sldId="2147483795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863000031" sldId="2147483796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387124847" sldId="2147483797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293249909" sldId="2147483798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88586140" sldId="2147483799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4026934230" sldId="2147483800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3830877108" sldId="2147483801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3501504755" sldId="2147483802"/>
          </pc:sldLayoutMkLst>
        </pc:sldLayoutChg>
        <pc:sldLayoutChg chg="del">
          <pc:chgData name="Pascal van Dam" userId="b531e1f7-1442-4769-a01f-680bcf827801" providerId="ADAL" clId="{3A48427D-159D-4E56-85C7-62E7A07AB57F}" dt="2023-06-13T14:03:12.676" v="525" actId="47"/>
          <pc:sldLayoutMkLst>
            <pc:docMk/>
            <pc:sldMasterMk cId="1838443563" sldId="2147483783"/>
            <pc:sldLayoutMk cId="1607141173" sldId="2147483803"/>
          </pc:sldLayoutMkLst>
        </pc:sldLayoutChg>
      </pc:sldMasterChg>
    </pc:docChg>
  </pc:docChgLst>
  <pc:docChgLst>
    <pc:chgData name="Gert-Willem van Mourik" userId="4849c549-68b5-46f9-8949-d4e6a6080cef" providerId="ADAL" clId="{5C9AFB08-4FD2-43B8-8FC3-7A3B937E62F8}"/>
    <pc:docChg chg="undo custSel addSld modSld">
      <pc:chgData name="Gert-Willem van Mourik" userId="4849c549-68b5-46f9-8949-d4e6a6080cef" providerId="ADAL" clId="{5C9AFB08-4FD2-43B8-8FC3-7A3B937E62F8}" dt="2023-06-13T07:05:09.354" v="823" actId="6549"/>
      <pc:docMkLst>
        <pc:docMk/>
      </pc:docMkLst>
      <pc:sldChg chg="modSp mod">
        <pc:chgData name="Gert-Willem van Mourik" userId="4849c549-68b5-46f9-8949-d4e6a6080cef" providerId="ADAL" clId="{5C9AFB08-4FD2-43B8-8FC3-7A3B937E62F8}" dt="2023-06-13T06:56:28.820" v="65" actId="14100"/>
        <pc:sldMkLst>
          <pc:docMk/>
          <pc:sldMk cId="2685991225" sldId="263"/>
        </pc:sldMkLst>
        <pc:spChg chg="mod">
          <ac:chgData name="Gert-Willem van Mourik" userId="4849c549-68b5-46f9-8949-d4e6a6080cef" providerId="ADAL" clId="{5C9AFB08-4FD2-43B8-8FC3-7A3B937E62F8}" dt="2023-06-13T06:56:28.820" v="65" actId="14100"/>
          <ac:spMkLst>
            <pc:docMk/>
            <pc:sldMk cId="2685991225" sldId="263"/>
            <ac:spMk id="5" creationId="{58C66231-87D0-BCF8-4600-ED50726B8489}"/>
          </ac:spMkLst>
        </pc:spChg>
      </pc:sldChg>
      <pc:sldChg chg="delSp new mod">
        <pc:chgData name="Gert-Willem van Mourik" userId="4849c549-68b5-46f9-8949-d4e6a6080cef" providerId="ADAL" clId="{5C9AFB08-4FD2-43B8-8FC3-7A3B937E62F8}" dt="2023-06-13T06:55:04.851" v="1" actId="478"/>
        <pc:sldMkLst>
          <pc:docMk/>
          <pc:sldMk cId="4121537433" sldId="272"/>
        </pc:sldMkLst>
        <pc:spChg chg="del">
          <ac:chgData name="Gert-Willem van Mourik" userId="4849c549-68b5-46f9-8949-d4e6a6080cef" providerId="ADAL" clId="{5C9AFB08-4FD2-43B8-8FC3-7A3B937E62F8}" dt="2023-06-13T06:55:04.851" v="1" actId="478"/>
          <ac:spMkLst>
            <pc:docMk/>
            <pc:sldMk cId="4121537433" sldId="272"/>
            <ac:spMk id="2" creationId="{D06ED6CA-140A-ABFA-1002-955A6C902EA7}"/>
          </ac:spMkLst>
        </pc:spChg>
        <pc:spChg chg="del">
          <ac:chgData name="Gert-Willem van Mourik" userId="4849c549-68b5-46f9-8949-d4e6a6080cef" providerId="ADAL" clId="{5C9AFB08-4FD2-43B8-8FC3-7A3B937E62F8}" dt="2023-06-13T06:55:04.851" v="1" actId="478"/>
          <ac:spMkLst>
            <pc:docMk/>
            <pc:sldMk cId="4121537433" sldId="272"/>
            <ac:spMk id="3" creationId="{05ABDC85-7F56-BCE1-ACCD-32009F20F940}"/>
          </ac:spMkLst>
        </pc:spChg>
      </pc:sldChg>
      <pc:sldChg chg="add">
        <pc:chgData name="Gert-Willem van Mourik" userId="4849c549-68b5-46f9-8949-d4e6a6080cef" providerId="ADAL" clId="{5C9AFB08-4FD2-43B8-8FC3-7A3B937E62F8}" dt="2023-06-13T06:55:05.603" v="2"/>
        <pc:sldMkLst>
          <pc:docMk/>
          <pc:sldMk cId="4126765375" sldId="4571"/>
        </pc:sldMkLst>
      </pc:sldChg>
      <pc:sldChg chg="addSp delSp modSp new mod">
        <pc:chgData name="Gert-Willem van Mourik" userId="4849c549-68b5-46f9-8949-d4e6a6080cef" providerId="ADAL" clId="{5C9AFB08-4FD2-43B8-8FC3-7A3B937E62F8}" dt="2023-06-13T07:05:09.354" v="823" actId="6549"/>
        <pc:sldMkLst>
          <pc:docMk/>
          <pc:sldMk cId="4035738828" sldId="4572"/>
        </pc:sldMkLst>
        <pc:spChg chg="del">
          <ac:chgData name="Gert-Willem van Mourik" userId="4849c549-68b5-46f9-8949-d4e6a6080cef" providerId="ADAL" clId="{5C9AFB08-4FD2-43B8-8FC3-7A3B937E62F8}" dt="2023-06-13T06:56:40.891" v="67" actId="478"/>
          <ac:spMkLst>
            <pc:docMk/>
            <pc:sldMk cId="4035738828" sldId="4572"/>
            <ac:spMk id="2" creationId="{0F81651D-0DBF-7735-888D-1296498D7C58}"/>
          </ac:spMkLst>
        </pc:spChg>
        <pc:spChg chg="del">
          <ac:chgData name="Gert-Willem van Mourik" userId="4849c549-68b5-46f9-8949-d4e6a6080cef" providerId="ADAL" clId="{5C9AFB08-4FD2-43B8-8FC3-7A3B937E62F8}" dt="2023-06-13T06:56:40.891" v="67" actId="478"/>
          <ac:spMkLst>
            <pc:docMk/>
            <pc:sldMk cId="4035738828" sldId="4572"/>
            <ac:spMk id="3" creationId="{61D81FDE-4869-E489-0944-11CFC1BD3D7E}"/>
          </ac:spMkLst>
        </pc:spChg>
        <pc:spChg chg="add mod">
          <ac:chgData name="Gert-Willem van Mourik" userId="4849c549-68b5-46f9-8949-d4e6a6080cef" providerId="ADAL" clId="{5C9AFB08-4FD2-43B8-8FC3-7A3B937E62F8}" dt="2023-06-13T06:57:22.505" v="103" actId="20577"/>
          <ac:spMkLst>
            <pc:docMk/>
            <pc:sldMk cId="4035738828" sldId="4572"/>
            <ac:spMk id="6" creationId="{8A531113-BC6B-A72E-BD6B-79B9DF82A7E9}"/>
          </ac:spMkLst>
        </pc:spChg>
        <pc:spChg chg="add mod">
          <ac:chgData name="Gert-Willem van Mourik" userId="4849c549-68b5-46f9-8949-d4e6a6080cef" providerId="ADAL" clId="{5C9AFB08-4FD2-43B8-8FC3-7A3B937E62F8}" dt="2023-06-13T07:05:09.354" v="823" actId="6549"/>
          <ac:spMkLst>
            <pc:docMk/>
            <pc:sldMk cId="4035738828" sldId="4572"/>
            <ac:spMk id="7" creationId="{1E65ADFE-F8F5-477E-5CAB-88CC5E2C0AEC}"/>
          </ac:spMkLst>
        </pc:spChg>
        <pc:spChg chg="add mod">
          <ac:chgData name="Gert-Willem van Mourik" userId="4849c549-68b5-46f9-8949-d4e6a6080cef" providerId="ADAL" clId="{5C9AFB08-4FD2-43B8-8FC3-7A3B937E62F8}" dt="2023-06-13T07:00:17.980" v="381" actId="1076"/>
          <ac:spMkLst>
            <pc:docMk/>
            <pc:sldMk cId="4035738828" sldId="4572"/>
            <ac:spMk id="8" creationId="{F5266D87-3A52-3DB6-5523-5C08D41E887F}"/>
          </ac:spMkLst>
        </pc:spChg>
        <pc:spChg chg="add mod">
          <ac:chgData name="Gert-Willem van Mourik" userId="4849c549-68b5-46f9-8949-d4e6a6080cef" providerId="ADAL" clId="{5C9AFB08-4FD2-43B8-8FC3-7A3B937E62F8}" dt="2023-06-13T07:01:47.733" v="555" actId="1076"/>
          <ac:spMkLst>
            <pc:docMk/>
            <pc:sldMk cId="4035738828" sldId="4572"/>
            <ac:spMk id="9" creationId="{374D8A56-649C-BF37-5714-7EC98C077A40}"/>
          </ac:spMkLst>
        </pc:spChg>
        <pc:picChg chg="add del mod">
          <ac:chgData name="Gert-Willem van Mourik" userId="4849c549-68b5-46f9-8949-d4e6a6080cef" providerId="ADAL" clId="{5C9AFB08-4FD2-43B8-8FC3-7A3B937E62F8}" dt="2023-06-13T06:59:38.616" v="360" actId="478"/>
          <ac:picMkLst>
            <pc:docMk/>
            <pc:sldMk cId="4035738828" sldId="4572"/>
            <ac:picMk id="4" creationId="{1E724B27-4A03-CCA0-2506-AF1917CF4B53}"/>
          </ac:picMkLst>
        </pc:picChg>
        <pc:picChg chg="add del mod">
          <ac:chgData name="Gert-Willem van Mourik" userId="4849c549-68b5-46f9-8949-d4e6a6080cef" providerId="ADAL" clId="{5C9AFB08-4FD2-43B8-8FC3-7A3B937E62F8}" dt="2023-06-13T06:59:37.714" v="359" actId="478"/>
          <ac:picMkLst>
            <pc:docMk/>
            <pc:sldMk cId="4035738828" sldId="4572"/>
            <ac:picMk id="5" creationId="{E38D9AF1-FDBE-E869-D85F-7325E312A885}"/>
          </ac:picMkLst>
        </pc:picChg>
      </pc:sldChg>
    </pc:docChg>
  </pc:docChgLst>
  <pc:docChgLst>
    <pc:chgData name="Gert-Willem van Mourik" userId="4849c549-68b5-46f9-8949-d4e6a6080cef" providerId="ADAL" clId="{96820F77-9F2A-4826-8839-6FA5248796CA}"/>
    <pc:docChg chg="undo custSel addSld delSld modSld sldOrd">
      <pc:chgData name="Gert-Willem van Mourik" userId="4849c549-68b5-46f9-8949-d4e6a6080cef" providerId="ADAL" clId="{96820F77-9F2A-4826-8839-6FA5248796CA}" dt="2023-06-13T06:50:57.459" v="300" actId="20577"/>
      <pc:docMkLst>
        <pc:docMk/>
      </pc:docMkLst>
      <pc:sldChg chg="modSp mod">
        <pc:chgData name="Gert-Willem van Mourik" userId="4849c549-68b5-46f9-8949-d4e6a6080cef" providerId="ADAL" clId="{96820F77-9F2A-4826-8839-6FA5248796CA}" dt="2023-06-13T06:34:24.482" v="109" actId="20577"/>
        <pc:sldMkLst>
          <pc:docMk/>
          <pc:sldMk cId="3434545749" sldId="257"/>
        </pc:sldMkLst>
        <pc:spChg chg="mod">
          <ac:chgData name="Gert-Willem van Mourik" userId="4849c549-68b5-46f9-8949-d4e6a6080cef" providerId="ADAL" clId="{96820F77-9F2A-4826-8839-6FA5248796CA}" dt="2023-06-13T06:34:14.619" v="92" actId="14100"/>
          <ac:spMkLst>
            <pc:docMk/>
            <pc:sldMk cId="3434545749" sldId="257"/>
            <ac:spMk id="3" creationId="{42D2FC52-398A-EAEC-80B6-879A9580F308}"/>
          </ac:spMkLst>
        </pc:spChg>
        <pc:spChg chg="mod">
          <ac:chgData name="Gert-Willem van Mourik" userId="4849c549-68b5-46f9-8949-d4e6a6080cef" providerId="ADAL" clId="{96820F77-9F2A-4826-8839-6FA5248796CA}" dt="2023-06-13T06:34:24.482" v="109" actId="20577"/>
          <ac:spMkLst>
            <pc:docMk/>
            <pc:sldMk cId="3434545749" sldId="257"/>
            <ac:spMk id="6" creationId="{00000000-0000-0000-0000-000000000000}"/>
          </ac:spMkLst>
        </pc:spChg>
      </pc:sldChg>
      <pc:sldChg chg="modSp mod">
        <pc:chgData name="Gert-Willem van Mourik" userId="4849c549-68b5-46f9-8949-d4e6a6080cef" providerId="ADAL" clId="{96820F77-9F2A-4826-8839-6FA5248796CA}" dt="2023-06-13T06:35:54.925" v="131" actId="20577"/>
        <pc:sldMkLst>
          <pc:docMk/>
          <pc:sldMk cId="3192080117" sldId="258"/>
        </pc:sldMkLst>
        <pc:spChg chg="mod">
          <ac:chgData name="Gert-Willem van Mourik" userId="4849c549-68b5-46f9-8949-d4e6a6080cef" providerId="ADAL" clId="{96820F77-9F2A-4826-8839-6FA5248796CA}" dt="2023-06-13T06:35:54.925" v="131" actId="20577"/>
          <ac:spMkLst>
            <pc:docMk/>
            <pc:sldMk cId="3192080117" sldId="258"/>
            <ac:spMk id="6" creationId="{0FA9D2C2-1AF9-636D-0CA3-6E4EC48E7E3C}"/>
          </ac:spMkLst>
        </pc:spChg>
        <pc:spChg chg="mod">
          <ac:chgData name="Gert-Willem van Mourik" userId="4849c549-68b5-46f9-8949-d4e6a6080cef" providerId="ADAL" clId="{96820F77-9F2A-4826-8839-6FA5248796CA}" dt="2023-06-13T06:35:14.514" v="115" actId="20577"/>
          <ac:spMkLst>
            <pc:docMk/>
            <pc:sldMk cId="3192080117" sldId="258"/>
            <ac:spMk id="8" creationId="{389FAEE6-DCA8-5CD2-811C-B908C7CFDECA}"/>
          </ac:spMkLst>
        </pc:spChg>
      </pc:sldChg>
      <pc:sldChg chg="del">
        <pc:chgData name="Gert-Willem van Mourik" userId="4849c549-68b5-46f9-8949-d4e6a6080cef" providerId="ADAL" clId="{96820F77-9F2A-4826-8839-6FA5248796CA}" dt="2023-06-13T06:40:43.382" v="234" actId="47"/>
        <pc:sldMkLst>
          <pc:docMk/>
          <pc:sldMk cId="1334827056" sldId="260"/>
        </pc:sldMkLst>
      </pc:sldChg>
      <pc:sldChg chg="del">
        <pc:chgData name="Gert-Willem van Mourik" userId="4849c549-68b5-46f9-8949-d4e6a6080cef" providerId="ADAL" clId="{96820F77-9F2A-4826-8839-6FA5248796CA}" dt="2023-06-13T06:37:30.665" v="135" actId="47"/>
        <pc:sldMkLst>
          <pc:docMk/>
          <pc:sldMk cId="2825330142" sldId="261"/>
        </pc:sldMkLst>
      </pc:sldChg>
      <pc:sldChg chg="del">
        <pc:chgData name="Gert-Willem van Mourik" userId="4849c549-68b5-46f9-8949-d4e6a6080cef" providerId="ADAL" clId="{96820F77-9F2A-4826-8839-6FA5248796CA}" dt="2023-06-13T06:37:35.885" v="136" actId="47"/>
        <pc:sldMkLst>
          <pc:docMk/>
          <pc:sldMk cId="2730421517" sldId="262"/>
        </pc:sldMkLst>
      </pc:sldChg>
      <pc:sldChg chg="delSp modSp mod">
        <pc:chgData name="Gert-Willem van Mourik" userId="4849c549-68b5-46f9-8949-d4e6a6080cef" providerId="ADAL" clId="{96820F77-9F2A-4826-8839-6FA5248796CA}" dt="2023-06-13T06:42:13.552" v="269" actId="20577"/>
        <pc:sldMkLst>
          <pc:docMk/>
          <pc:sldMk cId="2685991225" sldId="263"/>
        </pc:sldMkLst>
        <pc:spChg chg="mod">
          <ac:chgData name="Gert-Willem van Mourik" userId="4849c549-68b5-46f9-8949-d4e6a6080cef" providerId="ADAL" clId="{96820F77-9F2A-4826-8839-6FA5248796CA}" dt="2023-06-13T06:42:13.552" v="269" actId="20577"/>
          <ac:spMkLst>
            <pc:docMk/>
            <pc:sldMk cId="2685991225" sldId="263"/>
            <ac:spMk id="5" creationId="{58C66231-87D0-BCF8-4600-ED50726B8489}"/>
          </ac:spMkLst>
        </pc:spChg>
        <pc:inkChg chg="del">
          <ac:chgData name="Gert-Willem van Mourik" userId="4849c549-68b5-46f9-8949-d4e6a6080cef" providerId="ADAL" clId="{96820F77-9F2A-4826-8839-6FA5248796CA}" dt="2023-06-13T06:38:32.090" v="163" actId="478"/>
          <ac:inkMkLst>
            <pc:docMk/>
            <pc:sldMk cId="2685991225" sldId="263"/>
            <ac:inkMk id="9" creationId="{31ACBB19-3D4C-EF9C-D3F7-AD35D7DE8FD2}"/>
          </ac:inkMkLst>
        </pc:inkChg>
      </pc:sldChg>
      <pc:sldChg chg="addSp delSp modSp mod">
        <pc:chgData name="Gert-Willem van Mourik" userId="4849c549-68b5-46f9-8949-d4e6a6080cef" providerId="ADAL" clId="{96820F77-9F2A-4826-8839-6FA5248796CA}" dt="2023-06-13T06:50:57.459" v="300" actId="20577"/>
        <pc:sldMkLst>
          <pc:docMk/>
          <pc:sldMk cId="3151088141" sldId="265"/>
        </pc:sldMkLst>
        <pc:spChg chg="mod">
          <ac:chgData name="Gert-Willem van Mourik" userId="4849c549-68b5-46f9-8949-d4e6a6080cef" providerId="ADAL" clId="{96820F77-9F2A-4826-8839-6FA5248796CA}" dt="2023-06-13T06:50:57.459" v="300" actId="20577"/>
          <ac:spMkLst>
            <pc:docMk/>
            <pc:sldMk cId="3151088141" sldId="265"/>
            <ac:spMk id="2" creationId="{C9FF079F-0732-EDB7-D15C-947946245736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8" creationId="{25BE1B24-A338-EAF8-8481-59BAA6CFEAF3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0" creationId="{7F652556-2B69-FE46-1860-3D2EC1979B74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1" creationId="{1E2FC7C2-277A-59F1-4465-B10CEAD1915C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2" creationId="{FBF8DB4C-C4FE-4974-E09B-F9851C4732A1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3" creationId="{87A3C41B-B072-2E50-619F-7EA4D33171B7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4" creationId="{F69E2A4D-3AA0-3069-3FA6-9662BC410778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5" creationId="{9AF5C14E-1265-ACE6-179E-D5E0B0806795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6" creationId="{18AACD13-6D23-9CA6-6C68-F5382A3EF272}"/>
          </ac:spMkLst>
        </pc:spChg>
        <pc:spChg chg="add del mod">
          <ac:chgData name="Gert-Willem van Mourik" userId="4849c549-68b5-46f9-8949-d4e6a6080cef" providerId="ADAL" clId="{96820F77-9F2A-4826-8839-6FA5248796CA}" dt="2023-06-13T06:44:08.026" v="271"/>
          <ac:spMkLst>
            <pc:docMk/>
            <pc:sldMk cId="3151088141" sldId="265"/>
            <ac:spMk id="17" creationId="{5384776B-B0A7-FDA3-2C10-C95F88E357D2}"/>
          </ac:spMkLst>
        </pc:spChg>
        <pc:picChg chg="add del mod">
          <ac:chgData name="Gert-Willem van Mourik" userId="4849c549-68b5-46f9-8949-d4e6a6080cef" providerId="ADAL" clId="{96820F77-9F2A-4826-8839-6FA5248796CA}" dt="2023-06-13T06:44:08.026" v="271"/>
          <ac:picMkLst>
            <pc:docMk/>
            <pc:sldMk cId="3151088141" sldId="265"/>
            <ac:picMk id="18" creationId="{012353CE-1366-EE4A-F831-8F307485310A}"/>
          </ac:picMkLst>
        </pc:picChg>
        <pc:picChg chg="add del mod">
          <ac:chgData name="Gert-Willem van Mourik" userId="4849c549-68b5-46f9-8949-d4e6a6080cef" providerId="ADAL" clId="{96820F77-9F2A-4826-8839-6FA5248796CA}" dt="2023-06-13T06:44:08.026" v="271"/>
          <ac:picMkLst>
            <pc:docMk/>
            <pc:sldMk cId="3151088141" sldId="265"/>
            <ac:picMk id="19" creationId="{160F4CDA-708D-F8FB-058C-8969ED9F62CC}"/>
          </ac:picMkLst>
        </pc:picChg>
        <pc:picChg chg="add del mod">
          <ac:chgData name="Gert-Willem van Mourik" userId="4849c549-68b5-46f9-8949-d4e6a6080cef" providerId="ADAL" clId="{96820F77-9F2A-4826-8839-6FA5248796CA}" dt="2023-06-13T06:44:08.026" v="271"/>
          <ac:picMkLst>
            <pc:docMk/>
            <pc:sldMk cId="3151088141" sldId="265"/>
            <ac:picMk id="20" creationId="{12E4E9D6-CEB6-C32A-D9AB-B17B53741788}"/>
          </ac:picMkLst>
        </pc:picChg>
        <pc:picChg chg="add del mod">
          <ac:chgData name="Gert-Willem van Mourik" userId="4849c549-68b5-46f9-8949-d4e6a6080cef" providerId="ADAL" clId="{96820F77-9F2A-4826-8839-6FA5248796CA}" dt="2023-06-13T06:44:08.026" v="271"/>
          <ac:picMkLst>
            <pc:docMk/>
            <pc:sldMk cId="3151088141" sldId="265"/>
            <ac:picMk id="21" creationId="{4110F97A-2AF3-3348-AFED-3F9427B110F0}"/>
          </ac:picMkLst>
        </pc:picChg>
        <pc:picChg chg="add del mod">
          <ac:chgData name="Gert-Willem van Mourik" userId="4849c549-68b5-46f9-8949-d4e6a6080cef" providerId="ADAL" clId="{96820F77-9F2A-4826-8839-6FA5248796CA}" dt="2023-06-13T06:44:08.026" v="271"/>
          <ac:picMkLst>
            <pc:docMk/>
            <pc:sldMk cId="3151088141" sldId="265"/>
            <ac:picMk id="22" creationId="{35E5A14D-7C5E-5A86-012B-CB75F94D168D}"/>
          </ac:picMkLst>
        </pc:picChg>
      </pc:sldChg>
      <pc:sldChg chg="delSp modSp mod ord">
        <pc:chgData name="Gert-Willem van Mourik" userId="4849c549-68b5-46f9-8949-d4e6a6080cef" providerId="ADAL" clId="{96820F77-9F2A-4826-8839-6FA5248796CA}" dt="2023-06-13T06:41:13.335" v="249" actId="20577"/>
        <pc:sldMkLst>
          <pc:docMk/>
          <pc:sldMk cId="579446290" sldId="266"/>
        </pc:sldMkLst>
        <pc:spChg chg="mod">
          <ac:chgData name="Gert-Willem van Mourik" userId="4849c549-68b5-46f9-8949-d4e6a6080cef" providerId="ADAL" clId="{96820F77-9F2A-4826-8839-6FA5248796CA}" dt="2023-06-13T06:39:26.305" v="173" actId="20577"/>
          <ac:spMkLst>
            <pc:docMk/>
            <pc:sldMk cId="579446290" sldId="266"/>
            <ac:spMk id="2" creationId="{AB6EE31A-79B8-C288-FE90-239C603B0D0D}"/>
          </ac:spMkLst>
        </pc:spChg>
        <pc:spChg chg="mod">
          <ac:chgData name="Gert-Willem van Mourik" userId="4849c549-68b5-46f9-8949-d4e6a6080cef" providerId="ADAL" clId="{96820F77-9F2A-4826-8839-6FA5248796CA}" dt="2023-06-13T06:41:13.335" v="249" actId="20577"/>
          <ac:spMkLst>
            <pc:docMk/>
            <pc:sldMk cId="579446290" sldId="266"/>
            <ac:spMk id="4" creationId="{C0A33313-DD87-2045-3201-6ED74F95DE73}"/>
          </ac:spMkLst>
        </pc:spChg>
        <pc:inkChg chg="del">
          <ac:chgData name="Gert-Willem van Mourik" userId="4849c549-68b5-46f9-8949-d4e6a6080cef" providerId="ADAL" clId="{96820F77-9F2A-4826-8839-6FA5248796CA}" dt="2023-06-13T06:40:14.190" v="228" actId="478"/>
          <ac:inkMkLst>
            <pc:docMk/>
            <pc:sldMk cId="579446290" sldId="266"/>
            <ac:inkMk id="3" creationId="{B591FAA1-4644-CF69-1589-0BF162AFD999}"/>
          </ac:inkMkLst>
        </pc:inkChg>
        <pc:inkChg chg="del">
          <ac:chgData name="Gert-Willem van Mourik" userId="4849c549-68b5-46f9-8949-d4e6a6080cef" providerId="ADAL" clId="{96820F77-9F2A-4826-8839-6FA5248796CA}" dt="2023-06-13T06:40:09.200" v="226" actId="478"/>
          <ac:inkMkLst>
            <pc:docMk/>
            <pc:sldMk cId="579446290" sldId="266"/>
            <ac:inkMk id="5" creationId="{492923A0-166A-FAD4-D373-0D354455BD59}"/>
          </ac:inkMkLst>
        </pc:inkChg>
        <pc:inkChg chg="del">
          <ac:chgData name="Gert-Willem van Mourik" userId="4849c549-68b5-46f9-8949-d4e6a6080cef" providerId="ADAL" clId="{96820F77-9F2A-4826-8839-6FA5248796CA}" dt="2023-06-13T06:40:12.378" v="227" actId="478"/>
          <ac:inkMkLst>
            <pc:docMk/>
            <pc:sldMk cId="579446290" sldId="266"/>
            <ac:inkMk id="6" creationId="{3F25D8EE-7BFE-732F-E6B5-A50B05100BE7}"/>
          </ac:inkMkLst>
        </pc:inkChg>
        <pc:inkChg chg="del">
          <ac:chgData name="Gert-Willem van Mourik" userId="4849c549-68b5-46f9-8949-d4e6a6080cef" providerId="ADAL" clId="{96820F77-9F2A-4826-8839-6FA5248796CA}" dt="2023-06-13T06:40:22.239" v="232" actId="478"/>
          <ac:inkMkLst>
            <pc:docMk/>
            <pc:sldMk cId="579446290" sldId="266"/>
            <ac:inkMk id="7" creationId="{2336F9E7-2B75-6CB0-CF50-C36F1FD0A67D}"/>
          </ac:inkMkLst>
        </pc:inkChg>
        <pc:inkChg chg="del">
          <ac:chgData name="Gert-Willem van Mourik" userId="4849c549-68b5-46f9-8949-d4e6a6080cef" providerId="ADAL" clId="{96820F77-9F2A-4826-8839-6FA5248796CA}" dt="2023-06-13T06:40:21.010" v="231" actId="478"/>
          <ac:inkMkLst>
            <pc:docMk/>
            <pc:sldMk cId="579446290" sldId="266"/>
            <ac:inkMk id="8" creationId="{92F359BC-A21D-51DC-7043-EF093DAE0FBD}"/>
          </ac:inkMkLst>
        </pc:inkChg>
        <pc:inkChg chg="del">
          <ac:chgData name="Gert-Willem van Mourik" userId="4849c549-68b5-46f9-8949-d4e6a6080cef" providerId="ADAL" clId="{96820F77-9F2A-4826-8839-6FA5248796CA}" dt="2023-06-13T06:40:17.097" v="229" actId="478"/>
          <ac:inkMkLst>
            <pc:docMk/>
            <pc:sldMk cId="579446290" sldId="266"/>
            <ac:inkMk id="9" creationId="{2D512E28-004D-47E4-1F24-7A867C699A6A}"/>
          </ac:inkMkLst>
        </pc:inkChg>
        <pc:inkChg chg="del">
          <ac:chgData name="Gert-Willem van Mourik" userId="4849c549-68b5-46f9-8949-d4e6a6080cef" providerId="ADAL" clId="{96820F77-9F2A-4826-8839-6FA5248796CA}" dt="2023-06-13T06:40:19.374" v="230" actId="478"/>
          <ac:inkMkLst>
            <pc:docMk/>
            <pc:sldMk cId="579446290" sldId="266"/>
            <ac:inkMk id="10" creationId="{1B32823D-03F7-CFC4-8F87-EFA4C7DA0224}"/>
          </ac:inkMkLst>
        </pc:inkChg>
        <pc:inkChg chg="del">
          <ac:chgData name="Gert-Willem van Mourik" userId="4849c549-68b5-46f9-8949-d4e6a6080cef" providerId="ADAL" clId="{96820F77-9F2A-4826-8839-6FA5248796CA}" dt="2023-06-13T06:40:23.659" v="233" actId="478"/>
          <ac:inkMkLst>
            <pc:docMk/>
            <pc:sldMk cId="579446290" sldId="266"/>
            <ac:inkMk id="11" creationId="{79B478DC-277C-9287-9992-747F0FE0A9CD}"/>
          </ac:inkMkLst>
        </pc:inkChg>
      </pc:sldChg>
      <pc:sldChg chg="del">
        <pc:chgData name="Gert-Willem van Mourik" userId="4849c549-68b5-46f9-8949-d4e6a6080cef" providerId="ADAL" clId="{96820F77-9F2A-4826-8839-6FA5248796CA}" dt="2023-06-13T06:38:02.349" v="137" actId="47"/>
        <pc:sldMkLst>
          <pc:docMk/>
          <pc:sldMk cId="912218289" sldId="267"/>
        </pc:sldMkLst>
      </pc:sldChg>
      <pc:sldChg chg="del">
        <pc:chgData name="Gert-Willem van Mourik" userId="4849c549-68b5-46f9-8949-d4e6a6080cef" providerId="ADAL" clId="{96820F77-9F2A-4826-8839-6FA5248796CA}" dt="2023-06-13T06:36:36.088" v="134" actId="47"/>
        <pc:sldMkLst>
          <pc:docMk/>
          <pc:sldMk cId="1406802499" sldId="268"/>
        </pc:sldMkLst>
      </pc:sldChg>
      <pc:sldChg chg="del">
        <pc:chgData name="Gert-Willem van Mourik" userId="4849c549-68b5-46f9-8949-d4e6a6080cef" providerId="ADAL" clId="{96820F77-9F2A-4826-8839-6FA5248796CA}" dt="2023-06-13T06:36:28.355" v="133" actId="47"/>
        <pc:sldMkLst>
          <pc:docMk/>
          <pc:sldMk cId="4224801384" sldId="269"/>
        </pc:sldMkLst>
      </pc:sldChg>
      <pc:sldChg chg="ord">
        <pc:chgData name="Gert-Willem van Mourik" userId="4849c549-68b5-46f9-8949-d4e6a6080cef" providerId="ADAL" clId="{96820F77-9F2A-4826-8839-6FA5248796CA}" dt="2023-06-13T06:38:53.194" v="165"/>
        <pc:sldMkLst>
          <pc:docMk/>
          <pc:sldMk cId="3873657092" sldId="270"/>
        </pc:sldMkLst>
      </pc:sldChg>
      <pc:sldChg chg="addSp delSp modSp new mod">
        <pc:chgData name="Gert-Willem van Mourik" userId="4849c549-68b5-46f9-8949-d4e6a6080cef" providerId="ADAL" clId="{96820F77-9F2A-4826-8839-6FA5248796CA}" dt="2023-06-13T06:50:11.788" v="290" actId="1076"/>
        <pc:sldMkLst>
          <pc:docMk/>
          <pc:sldMk cId="1414210158" sldId="271"/>
        </pc:sldMkLst>
        <pc:spChg chg="del">
          <ac:chgData name="Gert-Willem van Mourik" userId="4849c549-68b5-46f9-8949-d4e6a6080cef" providerId="ADAL" clId="{96820F77-9F2A-4826-8839-6FA5248796CA}" dt="2023-06-13T06:44:13.872" v="273" actId="478"/>
          <ac:spMkLst>
            <pc:docMk/>
            <pc:sldMk cId="1414210158" sldId="271"/>
            <ac:spMk id="2" creationId="{84ECE538-212B-50E2-3212-11C864232F2C}"/>
          </ac:spMkLst>
        </pc:spChg>
        <pc:spChg chg="del">
          <ac:chgData name="Gert-Willem van Mourik" userId="4849c549-68b5-46f9-8949-d4e6a6080cef" providerId="ADAL" clId="{96820F77-9F2A-4826-8839-6FA5248796CA}" dt="2023-06-13T06:44:13.872" v="273" actId="478"/>
          <ac:spMkLst>
            <pc:docMk/>
            <pc:sldMk cId="1414210158" sldId="271"/>
            <ac:spMk id="3" creationId="{B0D45BCA-3668-24ED-8D2B-CCED85964168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4" creationId="{66175A0C-4D7D-96FE-6D4A-18F7D1E61E79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5" creationId="{854E4924-25E2-3627-5ACF-688076470B1D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6" creationId="{A48AE01F-989E-9B21-7C26-D5DC2511DF93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7" creationId="{A1B92DE7-BF35-13D6-9BF8-E2AFFC5B6312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8" creationId="{B1C3EB09-6F4E-D1B5-738D-C4EC30FB6B80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9" creationId="{71FDEE57-C4C1-BD14-555F-292E8EF9A90E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10" creationId="{2DE258CB-854A-1380-C85E-2D6827D5C53C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11" creationId="{4BE03E6C-A47D-4E2D-58F3-4666ED814A27}"/>
          </ac:spMkLst>
        </pc:spChg>
        <pc:spChg chg="add del mod">
          <ac:chgData name="Gert-Willem van Mourik" userId="4849c549-68b5-46f9-8949-d4e6a6080cef" providerId="ADAL" clId="{96820F77-9F2A-4826-8839-6FA5248796CA}" dt="2023-06-13T06:44:20.249" v="275"/>
          <ac:spMkLst>
            <pc:docMk/>
            <pc:sldMk cId="1414210158" sldId="271"/>
            <ac:spMk id="12" creationId="{CE6EF16E-F6E8-613C-B9C0-E131FB9022D8}"/>
          </ac:spMkLst>
        </pc:spChg>
        <pc:picChg chg="add del mod">
          <ac:chgData name="Gert-Willem van Mourik" userId="4849c549-68b5-46f9-8949-d4e6a6080cef" providerId="ADAL" clId="{96820F77-9F2A-4826-8839-6FA5248796CA}" dt="2023-06-13T06:44:20.249" v="275"/>
          <ac:picMkLst>
            <pc:docMk/>
            <pc:sldMk cId="1414210158" sldId="271"/>
            <ac:picMk id="13" creationId="{D72BAA2F-FB56-D9DE-B3CA-92C6A84927B8}"/>
          </ac:picMkLst>
        </pc:picChg>
        <pc:picChg chg="add del mod">
          <ac:chgData name="Gert-Willem van Mourik" userId="4849c549-68b5-46f9-8949-d4e6a6080cef" providerId="ADAL" clId="{96820F77-9F2A-4826-8839-6FA5248796CA}" dt="2023-06-13T06:44:20.249" v="275"/>
          <ac:picMkLst>
            <pc:docMk/>
            <pc:sldMk cId="1414210158" sldId="271"/>
            <ac:picMk id="14" creationId="{D87F16C0-5695-D3D0-DFB8-960784C6DD75}"/>
          </ac:picMkLst>
        </pc:picChg>
        <pc:picChg chg="add del mod">
          <ac:chgData name="Gert-Willem van Mourik" userId="4849c549-68b5-46f9-8949-d4e6a6080cef" providerId="ADAL" clId="{96820F77-9F2A-4826-8839-6FA5248796CA}" dt="2023-06-13T06:44:20.249" v="275"/>
          <ac:picMkLst>
            <pc:docMk/>
            <pc:sldMk cId="1414210158" sldId="271"/>
            <ac:picMk id="15" creationId="{1020529B-D3A0-48E1-EFC4-6DA8A748879E}"/>
          </ac:picMkLst>
        </pc:picChg>
        <pc:picChg chg="add del mod">
          <ac:chgData name="Gert-Willem van Mourik" userId="4849c549-68b5-46f9-8949-d4e6a6080cef" providerId="ADAL" clId="{96820F77-9F2A-4826-8839-6FA5248796CA}" dt="2023-06-13T06:44:20.249" v="275"/>
          <ac:picMkLst>
            <pc:docMk/>
            <pc:sldMk cId="1414210158" sldId="271"/>
            <ac:picMk id="16" creationId="{9C25B98D-AD42-5FAE-6EFF-2CE15FFA8470}"/>
          </ac:picMkLst>
        </pc:picChg>
        <pc:picChg chg="add del mod">
          <ac:chgData name="Gert-Willem van Mourik" userId="4849c549-68b5-46f9-8949-d4e6a6080cef" providerId="ADAL" clId="{96820F77-9F2A-4826-8839-6FA5248796CA}" dt="2023-06-13T06:44:20.249" v="275"/>
          <ac:picMkLst>
            <pc:docMk/>
            <pc:sldMk cId="1414210158" sldId="271"/>
            <ac:picMk id="17" creationId="{884A2AA5-780A-4033-0FBE-9FA0B930812E}"/>
          </ac:picMkLst>
        </pc:picChg>
        <pc:picChg chg="add del mod">
          <ac:chgData name="Gert-Willem van Mourik" userId="4849c549-68b5-46f9-8949-d4e6a6080cef" providerId="ADAL" clId="{96820F77-9F2A-4826-8839-6FA5248796CA}" dt="2023-06-13T06:48:30.124" v="279" actId="478"/>
          <ac:picMkLst>
            <pc:docMk/>
            <pc:sldMk cId="1414210158" sldId="271"/>
            <ac:picMk id="19" creationId="{B7B3FFB9-056A-7289-140C-48087091AB50}"/>
          </ac:picMkLst>
        </pc:picChg>
        <pc:picChg chg="add del mod">
          <ac:chgData name="Gert-Willem van Mourik" userId="4849c549-68b5-46f9-8949-d4e6a6080cef" providerId="ADAL" clId="{96820F77-9F2A-4826-8839-6FA5248796CA}" dt="2023-06-13T06:49:30.431" v="287"/>
          <ac:picMkLst>
            <pc:docMk/>
            <pc:sldMk cId="1414210158" sldId="271"/>
            <ac:picMk id="20" creationId="{5971F6AE-A49A-379C-670B-B2E585590A51}"/>
          </ac:picMkLst>
        </pc:picChg>
        <pc:picChg chg="add mod">
          <ac:chgData name="Gert-Willem van Mourik" userId="4849c549-68b5-46f9-8949-d4e6a6080cef" providerId="ADAL" clId="{96820F77-9F2A-4826-8839-6FA5248796CA}" dt="2023-06-13T06:50:11.788" v="290" actId="1076"/>
          <ac:picMkLst>
            <pc:docMk/>
            <pc:sldMk cId="1414210158" sldId="271"/>
            <ac:picMk id="21" creationId="{48E9C763-8FF4-5092-5340-607DDDF7BAB3}"/>
          </ac:picMkLst>
        </pc:picChg>
      </pc:sldChg>
      <pc:sldChg chg="del">
        <pc:chgData name="Gert-Willem van Mourik" userId="4849c549-68b5-46f9-8949-d4e6a6080cef" providerId="ADAL" clId="{96820F77-9F2A-4826-8839-6FA5248796CA}" dt="2023-06-13T06:36:22.859" v="132" actId="47"/>
        <pc:sldMkLst>
          <pc:docMk/>
          <pc:sldMk cId="2469020397" sldId="271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8T11:02:25.994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2854 19 24575,'-111'-7'0,"21"0"0,-420 3-27,387 4-91,-520 23-560,549-17 633,-557 66 189,544-59 595,-23 4-754,113-13 15,1 0 0,-1 1 0,1 1 0,0 0 0,1 1 0,0 1 0,0 0 0,1 2 0,-1-1 0,2 1 0,0 1 0,-18 18 0,14-8 0,0-1 0,2 1 0,0 1 0,1 1 0,1 0 0,1 1 0,-11 32 0,10-21 0,3 0 0,0 0 0,2 1 0,2 0 0,1 1 0,1 69 0,5-64 0,5 86 0,-3-110 0,0 1 0,1-1 0,1 0 0,13 32 0,-1-16 0,0-1 0,3 0 0,1-2 0,49 56 0,-15-28 0,79 65 0,-95-91 0,2-2 0,1-2 0,1-2 0,0-1 0,3-3 0,0-2 0,1-1 0,87 22 0,133 8 0,5-19 0,-113-14 0,782 81 0,-834-88 0,618 7 0,-680-20 0,0-2 0,0-2 0,0-1 0,-2-3 0,67-26 0,204-107 0,-174 68 0,141-99 0,-248 151 0,-2-1 0,35-33 0,-53 44 0,0 0 0,-1-2 0,-1 1 0,0-1 0,-1 0 0,14-32 0,-11 10 0,0-2 0,-3 0 0,-1 0 0,-2-1 0,-2 0 0,0-67 0,-5 94 0,0 0 0,-2 0 0,1 0 0,-2 0 0,0 1 0,-1-1 0,0 1 0,0 0 0,-2 0 0,0 0 0,0 1 0,-1-1 0,-1 2 0,1-1 0,-2 1 0,0 1 0,-20-20 0,9 13 0,-2 1 0,1 0 0,-1 2 0,-2 1 0,1 0 0,-1 2 0,-48-16 0,37 17 0,0 0 0,0 3 0,-64-6 0,-109 9 0,157 3 0,-67-9 0,-50-17 0,85 12 0,42 8 0,-577-116 0,278 54-1365,315 65-546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23T11:15:03.96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9,'60'1,"0"-4,68-10,-40 0,125-3,94 17,-123 2,-40-2,758-25,-54 7,-561 19,1122-2,-1083-19,-35 0,287-7,-482 20,806-5,-544 14,1157-3,-1162 20,-27 1,-2-23,65 1,-4 33,-238-10,181 5,-67-8,-8 0,894-17,-550-5,1356 3,-1704 20,-18 0,-11-23,113 6,-125 22,-135-14,31 6,-49-7,99 6,585-16,-326-2,-379 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23T11:15:07.66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44,'158'1,"389"-18,389-10,-644 30,715 28,-197-20,-494-13,-278 2,-4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39C82E-5A6F-4BA7-8C5B-F22B5AB84BBD}" type="datetimeFigureOut">
              <a:rPr lang="nl-NL" smtClean="0"/>
              <a:t>13-6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B964C-AE63-4794-BAE2-540327825C3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74363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E7D123-C831-4A2D-920C-8F39C4D8C04B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Klimaatakkoord: Om binnen de 1,5° opwarming van de aarde te blijven mag de bouw nog 100 Mt CO</a:t>
            </a:r>
            <a:r>
              <a:rPr lang="nl-NL" baseline="-25000" dirty="0"/>
              <a:t>2</a:t>
            </a:r>
            <a:r>
              <a:rPr lang="nl-NL" dirty="0"/>
              <a:t> uitstoten. Daarna is het budget 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ie 100 Mt CO</a:t>
            </a:r>
            <a:r>
              <a:rPr lang="nl-NL" baseline="-25000" dirty="0"/>
              <a:t>2</a:t>
            </a:r>
            <a:r>
              <a:rPr lang="nl-NL" dirty="0"/>
              <a:t> voor de bouw is inclusief GWW en renovati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r wordt berekend wat dit betekent voor de woningbouwopgave (235.000 woningen). In april komen de resulta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poiler: Als we blijven bouwen zoals we deden dan gaat het niet lukk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en combinatie van strategieën zal nodig zijn om het carbonbudget en de milieu-impact van de bouw binnen de afspraken van het Klimaatakkoord te hou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et alleen inzetten op </a:t>
            </a:r>
            <a:r>
              <a:rPr lang="nl-NL" b="1" dirty="0" err="1"/>
              <a:t>biobased</a:t>
            </a:r>
            <a:r>
              <a:rPr lang="nl-NL" dirty="0"/>
              <a:t> (CO</a:t>
            </a:r>
            <a:r>
              <a:rPr lang="nl-NL" baseline="-25000" dirty="0"/>
              <a:t>2 </a:t>
            </a:r>
            <a:r>
              <a:rPr lang="nl-NL" dirty="0"/>
              <a:t>-opslag) en </a:t>
            </a:r>
            <a:r>
              <a:rPr lang="nl-NL" b="1" dirty="0"/>
              <a:t>hergebruik</a:t>
            </a:r>
            <a:r>
              <a:rPr lang="nl-NL" dirty="0"/>
              <a:t> (</a:t>
            </a:r>
            <a:r>
              <a:rPr lang="nl-NL" dirty="0" err="1"/>
              <a:t>urban</a:t>
            </a:r>
            <a:r>
              <a:rPr lang="nl-NL" dirty="0"/>
              <a:t> </a:t>
            </a:r>
            <a:r>
              <a:rPr lang="nl-NL" dirty="0" err="1"/>
              <a:t>mining</a:t>
            </a:r>
            <a:r>
              <a:rPr lang="nl-NL" dirty="0"/>
              <a:t>) komen we er niet. Er zal ook meer </a:t>
            </a:r>
            <a:r>
              <a:rPr lang="nl-NL" b="1" dirty="0"/>
              <a:t>industrieel</a:t>
            </a:r>
            <a:r>
              <a:rPr lang="nl-NL" dirty="0"/>
              <a:t> gebouwd moeten worden, en ingezet moeten worden op </a:t>
            </a:r>
            <a:r>
              <a:rPr lang="nl-NL" b="1" dirty="0"/>
              <a:t>transformatie</a:t>
            </a:r>
            <a:r>
              <a:rPr lang="nl-NL" dirty="0"/>
              <a:t> en </a:t>
            </a:r>
            <a:r>
              <a:rPr lang="nl-NL" b="1" dirty="0"/>
              <a:t>kleiner</a:t>
            </a:r>
            <a:r>
              <a:rPr lang="nl-NL" dirty="0"/>
              <a:t> wonen.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9B964C-AE63-4794-BAE2-540327825C3A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04019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9B964C-AE63-4794-BAE2-540327825C3A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75010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jp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Relationship Id="rId9" Type="http://schemas.openxmlformats.org/officeDocument/2006/relationships/image" Target="../media/image13.ti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8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7.emf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6" Type="http://schemas.openxmlformats.org/officeDocument/2006/relationships/tags" Target="../tags/tag38.xml"/><Relationship Id="rId11" Type="http://schemas.openxmlformats.org/officeDocument/2006/relationships/image" Target="../media/image3.emf"/><Relationship Id="rId5" Type="http://schemas.openxmlformats.org/officeDocument/2006/relationships/tags" Target="../tags/tag3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6.xml"/><Relationship Id="rId9" Type="http://schemas.openxmlformats.org/officeDocument/2006/relationships/image" Target="../media/image16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2.xml"/><Relationship Id="rId7" Type="http://schemas.openxmlformats.org/officeDocument/2006/relationships/image" Target="../media/image1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4.xml"/><Relationship Id="rId10" Type="http://schemas.openxmlformats.org/officeDocument/2006/relationships/image" Target="../media/image17.emf"/><Relationship Id="rId4" Type="http://schemas.openxmlformats.org/officeDocument/2006/relationships/tags" Target="../tags/tag43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7.xml"/><Relationship Id="rId7" Type="http://schemas.openxmlformats.org/officeDocument/2006/relationships/image" Target="../media/image20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9.xml"/><Relationship Id="rId10" Type="http://schemas.openxmlformats.org/officeDocument/2006/relationships/image" Target="../media/image17.emf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7.emf"/><Relationship Id="rId4" Type="http://schemas.openxmlformats.org/officeDocument/2006/relationships/image" Target="../media/image21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7.emf"/><Relationship Id="rId4" Type="http://schemas.openxmlformats.org/officeDocument/2006/relationships/image" Target="../media/image2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7.emf"/><Relationship Id="rId4" Type="http://schemas.openxmlformats.org/officeDocument/2006/relationships/image" Target="../media/image23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7.emf"/><Relationship Id="rId4" Type="http://schemas.openxmlformats.org/officeDocument/2006/relationships/image" Target="../media/image24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7.emf"/><Relationship Id="rId4" Type="http://schemas.openxmlformats.org/officeDocument/2006/relationships/image" Target="../media/image25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7.emf"/><Relationship Id="rId4" Type="http://schemas.openxmlformats.org/officeDocument/2006/relationships/image" Target="../media/image26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7.emf"/><Relationship Id="rId4" Type="http://schemas.openxmlformats.org/officeDocument/2006/relationships/image" Target="../media/image27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7.emf"/><Relationship Id="rId4" Type="http://schemas.openxmlformats.org/officeDocument/2006/relationships/image" Target="../media/image28.jpe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8.xml"/><Relationship Id="rId7" Type="http://schemas.openxmlformats.org/officeDocument/2006/relationships/oleObject" Target="../embeddings/oleObject8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31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jp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81848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176617" y="3619201"/>
            <a:ext cx="47288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14360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947537"/>
            <a:ext cx="10449984" cy="656591"/>
          </a:xfrm>
          <a:prstGeom prst="rect">
            <a:avLst/>
          </a:prstGeom>
        </p:spPr>
        <p:txBody>
          <a:bodyPr/>
          <a:lstStyle>
            <a:lvl1pPr>
              <a:defRPr sz="4267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2000" y="1905001"/>
            <a:ext cx="10449984" cy="4186239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73804" y="6392113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367184" y="6392112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885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en foto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36033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762001" y="1744254"/>
            <a:ext cx="4728884" cy="53386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50000"/>
              </a:lnSpc>
              <a:buNone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</a:t>
            </a:r>
            <a:r>
              <a:rPr lang="nl-NL"/>
              <a:t>om tekst toe te voegen</a:t>
            </a:r>
            <a:endParaRPr lang="nl-NL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7636799" y="-1"/>
            <a:ext cx="4555200" cy="6859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D379FD-8BD4-4811-9807-915B47569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934778"/>
            <a:ext cx="6553200" cy="656591"/>
          </a:xfrm>
          <a:prstGeom prst="rect">
            <a:avLst/>
          </a:prstGeom>
        </p:spPr>
        <p:txBody>
          <a:bodyPr/>
          <a:lstStyle>
            <a:lvl1pPr>
              <a:defRPr sz="4267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98472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72476" y="6410016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331325" y="6410017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CA5524-084C-47F7-AA3A-A8A468C721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157010" y="2579636"/>
            <a:ext cx="5522381" cy="65562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3733" i="1">
                <a:solidFill>
                  <a:srgbClr val="281F6B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“Provinciale uitspraken”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559AA1B-0F4A-4100-A194-0177CDBD44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88944" y="3533600"/>
            <a:ext cx="3388781" cy="423065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 ─ Dhr. V. van Achternaa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28713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 met bal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73804" y="6392113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367184" y="6392112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8737B4-2FD5-4A45-987F-9128F9ACD9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905001"/>
            <a:ext cx="10449984" cy="4186239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E92D4-CAAE-4DC0-B3B6-4690BA86B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934778"/>
            <a:ext cx="10449984" cy="656591"/>
          </a:xfrm>
          <a:prstGeom prst="rect">
            <a:avLst/>
          </a:prstGeom>
        </p:spPr>
        <p:txBody>
          <a:bodyPr/>
          <a:lstStyle>
            <a:lvl1pPr>
              <a:defRPr sz="4267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40839941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2001" y="1717051"/>
            <a:ext cx="11044767" cy="533864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lnSpc>
                <a:spcPct val="150000"/>
              </a:lnSpc>
              <a:buNone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7419A18-B022-41C0-A13D-C2B422419467}"/>
              </a:ext>
            </a:extLst>
          </p:cNvPr>
          <p:cNvSpPr txBox="1">
            <a:spLocks/>
          </p:cNvSpPr>
          <p:nvPr userDrawn="1"/>
        </p:nvSpPr>
        <p:spPr>
          <a:xfrm>
            <a:off x="762000" y="934778"/>
            <a:ext cx="10449984" cy="65665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sz="4267"/>
              <a:t>Klik om een titel te maken</a:t>
            </a:r>
            <a:endParaRPr lang="nl-NL" sz="4267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BB238C0-88EA-4AB1-A12F-847285A48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67184" y="6392112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C17670-B6DA-429C-B383-715F8716A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73804" y="6392113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7629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ee objec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33569" y="6410017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355232" y="6410017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1999" y="1905000"/>
            <a:ext cx="5222400" cy="3739200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12895" y="1905000"/>
            <a:ext cx="5222400" cy="3739200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FC8E01-2B4F-4D52-9BC7-18A3E770BA94}"/>
              </a:ext>
            </a:extLst>
          </p:cNvPr>
          <p:cNvSpPr txBox="1">
            <a:spLocks/>
          </p:cNvSpPr>
          <p:nvPr userDrawn="1"/>
        </p:nvSpPr>
        <p:spPr>
          <a:xfrm>
            <a:off x="762000" y="934778"/>
            <a:ext cx="10449984" cy="65665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sz="4267"/>
              <a:t>Klik om een titel te maken</a:t>
            </a:r>
            <a:endParaRPr lang="nl-NL" sz="4267" dirty="0"/>
          </a:p>
        </p:txBody>
      </p:sp>
    </p:spTree>
    <p:extLst>
      <p:ext uri="{BB962C8B-B14F-4D97-AF65-F5344CB8AC3E}">
        <p14:creationId xmlns:p14="http://schemas.microsoft.com/office/powerpoint/2010/main" val="18773161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33569" y="6410017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355232" y="6410017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1999" y="2580443"/>
            <a:ext cx="5222400" cy="3063757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412895" y="2580442"/>
            <a:ext cx="5222400" cy="3063757"/>
          </a:xfrm>
          <a:prstGeom prst="rect">
            <a:avLst/>
          </a:prstGeom>
        </p:spPr>
        <p:txBody>
          <a:bodyPr>
            <a:normAutofit/>
          </a:bodyPr>
          <a:lstStyle>
            <a:lvl1pPr marL="241294" indent="-241294">
              <a:lnSpc>
                <a:spcPct val="150000"/>
              </a:lnSpc>
              <a:buFont typeface="Wingdings" panose="05000000000000000000" pitchFamily="2" charset="2"/>
              <a:buChar char="§"/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82588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723882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52476" indent="-228594">
              <a:lnSpc>
                <a:spcPct val="150000"/>
              </a:lnSpc>
              <a:defRPr sz="2133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193770" indent="-241294">
              <a:lnSpc>
                <a:spcPct val="150000"/>
              </a:lnSpc>
              <a:defRPr sz="2133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FC8E01-2B4F-4D52-9BC7-18A3E770BA94}"/>
              </a:ext>
            </a:extLst>
          </p:cNvPr>
          <p:cNvSpPr txBox="1">
            <a:spLocks/>
          </p:cNvSpPr>
          <p:nvPr userDrawn="1"/>
        </p:nvSpPr>
        <p:spPr>
          <a:xfrm>
            <a:off x="762000" y="934778"/>
            <a:ext cx="10449984" cy="65665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sz="4267"/>
              <a:t>Klik om een titel te maken</a:t>
            </a:r>
            <a:endParaRPr lang="nl-NL" sz="4267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5900265-61E5-48CF-A03D-0321B8BD48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61999" y="1722295"/>
            <a:ext cx="5222400" cy="70788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ED6F69-8339-4760-9BE7-47E46CBE035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412895" y="1722295"/>
            <a:ext cx="5222400" cy="707886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</p:spTree>
    <p:extLst>
      <p:ext uri="{BB962C8B-B14F-4D97-AF65-F5344CB8AC3E}">
        <p14:creationId xmlns:p14="http://schemas.microsoft.com/office/powerpoint/2010/main" val="3948817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73804" y="6392113"/>
            <a:ext cx="3860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438901" y="6392112"/>
            <a:ext cx="2844800" cy="18466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1D54E44-6BFE-4F3A-B6E4-FD41A306BD72}"/>
              </a:ext>
            </a:extLst>
          </p:cNvPr>
          <p:cNvSpPr txBox="1">
            <a:spLocks/>
          </p:cNvSpPr>
          <p:nvPr userDrawn="1"/>
        </p:nvSpPr>
        <p:spPr>
          <a:xfrm>
            <a:off x="762000" y="934778"/>
            <a:ext cx="10449984" cy="65665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sz="4267"/>
              <a:t>Klik om een titel te maken</a:t>
            </a:r>
            <a:endParaRPr lang="nl-NL" sz="4267" dirty="0"/>
          </a:p>
        </p:txBody>
      </p:sp>
    </p:spTree>
    <p:extLst>
      <p:ext uri="{BB962C8B-B14F-4D97-AF65-F5344CB8AC3E}">
        <p14:creationId xmlns:p14="http://schemas.microsoft.com/office/powerpoint/2010/main" val="3958235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53767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8400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7636799" y="-1"/>
            <a:ext cx="4555200" cy="6859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8770D6-BA0A-4BC7-98BB-F39F27455F12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1176615" y="2584450"/>
            <a:ext cx="6360259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B070F-B317-4B96-B2B5-CE6D2A7BCA3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8399" y="2336400"/>
            <a:ext cx="753600" cy="452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10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1F1FBF5-BE62-48BB-B623-1CE6EFC9C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F361B9-3777-46E0-8FD7-D9CE89669EC6}" type="datetimeFigureOut">
              <a:rPr lang="nl-NL" smtClean="0"/>
              <a:t>13-6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5D4FBD61-5936-48F3-9067-90A02F0B2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C483A00-275E-41CD-AB80-1815FC2AD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C24F8-B44B-4E29-B0CA-2A0D4724DA7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758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ereikbaar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14548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BCE4183-3CC1-4278-A7B6-861E50254297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19120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 NIEU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1893505742_1.mp4" descr="1893505742_1.mp4">
            <a:hlinkClick r:id="" action="ppaction://media"/>
            <a:extLst>
              <a:ext uri="{FF2B5EF4-FFF2-40B4-BE49-F238E27FC236}">
                <a16:creationId xmlns:a16="http://schemas.microsoft.com/office/drawing/2014/main" id="{788AED96-FB2A-8141-BA84-7500152FD958}"/>
              </a:ext>
            </a:extLst>
          </p:cNvPr>
          <p:cNvPicPr>
            <a:picLocks noChangeAspect="1"/>
          </p:cNvPicPr>
          <p:nvPr userDrawn="1">
            <a:videoFile r:link="rId1"/>
            <p:extLst>
              <p:ext uri="{DAA4B4D4-6D71-4841-9C94-3DE7FCFB9230}">
                <p14:media xmlns:p14="http://schemas.microsoft.com/office/powerpoint/2010/main" r:embed="rId2">
                  <p14:trim st="1309.1541" end="1021.3659"/>
                  <p14:fade in="1000"/>
                </p14:media>
              </p:ext>
            </p:extLst>
          </p:nvPr>
        </p:nvPicPr>
        <p:blipFill rotWithShape="1">
          <a:blip r:embed="rId9"/>
          <a:srcRect t="25032" b="25032"/>
          <a:stretch>
            <a:fillRect/>
          </a:stretch>
        </p:blipFill>
        <p:spPr>
          <a:xfrm>
            <a:off x="0" y="3433480"/>
            <a:ext cx="12192000" cy="3424519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8311508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3543301" y="2116455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4229C86-B9FF-1D49-9EF7-E8933A4CE4D6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71561" y="-44155"/>
            <a:ext cx="3121164" cy="346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893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Cover Provinciehuis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667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543301" y="2116455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8874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 Provinciehuis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6641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543301" y="2116455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39360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Energ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55094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Erfgoe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3071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06440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Ruimtegebrui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218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raatbeel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74747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Verkeer en Vervo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5260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aterwe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697912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ncurrerend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91312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62F47E-F438-4019-B1F1-6D0737D9B6A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959141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Zandmoto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0" y="3433482"/>
            <a:ext cx="3041651" cy="342451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1980" y="4667252"/>
            <a:ext cx="1766099" cy="135152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92223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9" y="274639"/>
            <a:ext cx="11044767" cy="492443"/>
          </a:xfrm>
          <a:noFill/>
        </p:spPr>
        <p:txBody>
          <a:bodyPr/>
          <a:lstStyle>
            <a:lvl1pPr>
              <a:defRPr>
                <a:solidFill>
                  <a:srgbClr val="20407A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rgbClr val="20407A"/>
                </a:solidFill>
              </a:defRPr>
            </a:lvl1pPr>
            <a:lvl2pPr>
              <a:defRPr>
                <a:solidFill>
                  <a:srgbClr val="20407A"/>
                </a:solidFill>
              </a:defRPr>
            </a:lvl2pPr>
            <a:lvl3pPr>
              <a:defRPr>
                <a:solidFill>
                  <a:srgbClr val="20407A"/>
                </a:solidFill>
              </a:defRPr>
            </a:lvl3pPr>
            <a:lvl4pPr>
              <a:defRPr baseline="0">
                <a:solidFill>
                  <a:srgbClr val="20407A"/>
                </a:solidFill>
              </a:defRPr>
            </a:lvl4pPr>
            <a:lvl5pPr>
              <a:defRPr>
                <a:solidFill>
                  <a:srgbClr val="20407A"/>
                </a:solidFill>
              </a:defRPr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77173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89503" y="2690336"/>
            <a:ext cx="11044767" cy="738664"/>
          </a:xfrm>
          <a:noFill/>
        </p:spPr>
        <p:txBody>
          <a:bodyPr/>
          <a:lstStyle>
            <a:lvl1pPr>
              <a:defRPr sz="4800">
                <a:solidFill>
                  <a:srgbClr val="20407A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53441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9" y="274639"/>
            <a:ext cx="11044767" cy="49244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019250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8" y="3098588"/>
            <a:ext cx="11044767" cy="492443"/>
          </a:xfrm>
        </p:spPr>
        <p:txBody>
          <a:bodyPr anchor="t"/>
          <a:lstStyle>
            <a:lvl1pPr algn="l">
              <a:defRPr sz="3200" b="1" cap="none" baseline="0"/>
            </a:lvl1pPr>
          </a:lstStyle>
          <a:p>
            <a:r>
              <a:rPr lang="nl-NL"/>
              <a:t>Klik om een sectiekop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3618" y="2544712"/>
            <a:ext cx="11044767" cy="320793"/>
          </a:xfrm>
        </p:spPr>
        <p:txBody>
          <a:bodyPr wrap="square" anchor="b">
            <a:spAutoFit/>
          </a:bodyPr>
          <a:lstStyle>
            <a:lvl1pPr marL="0" indent="0">
              <a:buNone/>
              <a:defRPr sz="2133">
                <a:solidFill>
                  <a:schemeClr val="accent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88871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9" y="274639"/>
            <a:ext cx="11044767" cy="492443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573617" y="1574800"/>
            <a:ext cx="5223559" cy="4516439"/>
          </a:xfrm>
        </p:spPr>
        <p:txBody>
          <a:bodyPr>
            <a:normAutofit/>
          </a:bodyPr>
          <a:lstStyle>
            <a:lvl1pPr marL="357708" indent="-357708">
              <a:defRPr lang="nl-NL" sz="2000" dirty="0" smtClean="0"/>
            </a:lvl1pPr>
            <a:lvl2pPr marL="717533" indent="-359824">
              <a:defRPr lang="nl-NL" sz="2000" dirty="0" smtClean="0"/>
            </a:lvl2pPr>
            <a:lvl3pPr marL="1079473" indent="-355591">
              <a:defRPr lang="nl-NL" sz="2000" dirty="0" smtClean="0"/>
            </a:lvl3pPr>
            <a:lvl4pPr marL="1435064" indent="-355591">
              <a:defRPr lang="nl-NL" sz="2000" dirty="0" smtClean="0"/>
            </a:lvl4pPr>
            <a:lvl5pPr marL="1790655" indent="-355591">
              <a:defRPr lang="nl-NL" sz="2000" dirty="0"/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394827" y="1574800"/>
            <a:ext cx="5223559" cy="4516439"/>
          </a:xfrm>
        </p:spPr>
        <p:txBody>
          <a:bodyPr>
            <a:normAutofit/>
          </a:bodyPr>
          <a:lstStyle>
            <a:lvl1pPr marL="357708" indent="-357708">
              <a:defRPr lang="nl-NL" sz="2000" dirty="0" smtClean="0"/>
            </a:lvl1pPr>
            <a:lvl2pPr marL="717533" indent="-359824">
              <a:defRPr lang="nl-NL" sz="2000" dirty="0" smtClean="0"/>
            </a:lvl2pPr>
            <a:lvl3pPr marL="1079473" indent="-355591">
              <a:defRPr lang="nl-NL" sz="2000" dirty="0" smtClean="0"/>
            </a:lvl3pPr>
            <a:lvl4pPr marL="1435064" indent="-355591">
              <a:defRPr lang="nl-NL" sz="2000" dirty="0" smtClean="0"/>
            </a:lvl4pPr>
            <a:lvl5pPr marL="1790655" indent="-355591">
              <a:defRPr lang="nl-NL" sz="2000" dirty="0"/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963044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9" y="274639"/>
            <a:ext cx="11044767" cy="492443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3617" y="1574801"/>
            <a:ext cx="5222400" cy="61555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l-NL"/>
              <a:t>Klik om een tekst</a:t>
            </a:r>
            <a:br>
              <a:rPr lang="nl-NL"/>
            </a:br>
            <a:r>
              <a:rPr lang="nl-NL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5984" y="1574801"/>
            <a:ext cx="5222400" cy="61555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l-NL"/>
              <a:t>Klik om een tekst</a:t>
            </a:r>
            <a:br>
              <a:rPr lang="nl-NL"/>
            </a:br>
            <a:r>
              <a:rPr lang="nl-NL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573617" y="2353993"/>
            <a:ext cx="5223559" cy="3737775"/>
          </a:xfrm>
        </p:spPr>
        <p:txBody>
          <a:bodyPr>
            <a:normAutofit/>
          </a:bodyPr>
          <a:lstStyle>
            <a:lvl1pPr marL="357708" indent="-357708">
              <a:defRPr sz="2000"/>
            </a:lvl1pPr>
            <a:lvl2pPr marL="717533" indent="-359824">
              <a:defRPr sz="2000"/>
            </a:lvl2pPr>
            <a:lvl3pPr marL="1079473" indent="-355591">
              <a:defRPr sz="2000"/>
            </a:lvl3pPr>
            <a:lvl4pPr marL="1435064" indent="-355591">
              <a:defRPr sz="2000"/>
            </a:lvl4pPr>
            <a:lvl5pPr marL="1790655" indent="-355591">
              <a:defRPr sz="2000"/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394827" y="2353993"/>
            <a:ext cx="5223559" cy="3737775"/>
          </a:xfrm>
        </p:spPr>
        <p:txBody>
          <a:bodyPr>
            <a:normAutofit/>
          </a:bodyPr>
          <a:lstStyle>
            <a:lvl1pPr marL="357708" indent="-357708">
              <a:defRPr sz="2000"/>
            </a:lvl1pPr>
            <a:lvl2pPr marL="717533" indent="-359824">
              <a:defRPr sz="2000"/>
            </a:lvl2pPr>
            <a:lvl3pPr marL="1079473" indent="-355591">
              <a:defRPr sz="2000"/>
            </a:lvl3pPr>
            <a:lvl4pPr marL="1435064" indent="-355591">
              <a:defRPr sz="2000"/>
            </a:lvl4pPr>
            <a:lvl5pPr marL="1790655" indent="-355591">
              <a:defRPr sz="2000"/>
            </a:lvl5pPr>
          </a:lstStyle>
          <a:p>
            <a:pPr lvl="0"/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14702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619" y="274639"/>
            <a:ext cx="11044767" cy="492443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80877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674659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iet invoegen (systeemdia)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94272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>
          <a:xfrm>
            <a:off x="0" y="3433482"/>
            <a:ext cx="12192000" cy="342451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r>
              <a:rPr lang="nl-NL"/>
              <a:t>Klik op het pictogram om </a:t>
            </a:r>
            <a:br>
              <a:rPr lang="nl-NL"/>
            </a:br>
            <a:r>
              <a:rPr lang="nl-NL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543301" y="692150"/>
            <a:ext cx="8075084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543301" y="2116457"/>
            <a:ext cx="8075084" cy="3608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083328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zond en Veilig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68452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ECE84D-3D96-469C-AB47-0EC9729405FC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81378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amenwerk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590304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D617417-A6C0-4BE7-975C-595A3277DC7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18964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chone Energ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645816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5F2F36-69B0-4EF4-ACA4-5167DDA640CE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67609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erke Steden en Dorp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692928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EE8E29C-CDBC-4BA0-A00E-65C8FC548138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939897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sterken Natuu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50502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8D1807-ED12-4152-BA69-3891B0FF0C61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76615" y="2584450"/>
            <a:ext cx="6163215" cy="74898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57886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en Cov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1"/>
            </p:custDataLst>
          </p:nvPr>
        </p:nvSpPr>
        <p:spPr>
          <a:xfrm>
            <a:off x="7636799" y="-1"/>
            <a:ext cx="4555200" cy="68592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24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68688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E8DCF166-39A4-4A13-85DF-E6F8B3C14FFC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176616" y="3619201"/>
            <a:ext cx="4716184" cy="4141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3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159650-3484-4E65-A421-ACC3EE448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6616" y="2582400"/>
            <a:ext cx="6212475" cy="777600"/>
          </a:xfrm>
          <a:prstGeom prst="rect">
            <a:avLst/>
          </a:prstGeom>
        </p:spPr>
        <p:txBody>
          <a:bodyPr/>
          <a:lstStyle>
            <a:lvl1pPr>
              <a:defRPr sz="4267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16066125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76000" y="6393601"/>
            <a:ext cx="3860800" cy="1846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66400" y="6393601"/>
            <a:ext cx="2844800" cy="1846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12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C46C9D-AA03-4E57-BF9E-72B03BAB849B}"/>
              </a:ext>
            </a:extLst>
          </p:cNvPr>
          <p:cNvSpPr txBox="1">
            <a:spLocks/>
          </p:cNvSpPr>
          <p:nvPr userDrawn="1"/>
        </p:nvSpPr>
        <p:spPr>
          <a:xfrm>
            <a:off x="762000" y="1905001"/>
            <a:ext cx="10449984" cy="418623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19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292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4375" indent="-1714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2133"/>
              <a:t>Eerste niveau</a:t>
            </a:r>
          </a:p>
          <a:p>
            <a:pPr lvl="1"/>
            <a:r>
              <a:rPr lang="nl-NL" sz="2133"/>
              <a:t>Tweede niveau</a:t>
            </a:r>
          </a:p>
          <a:p>
            <a:pPr lvl="2"/>
            <a:r>
              <a:rPr lang="nl-NL" sz="2133"/>
              <a:t>Derde niveau</a:t>
            </a:r>
          </a:p>
          <a:p>
            <a:pPr lvl="3"/>
            <a:r>
              <a:rPr lang="nl-NL" sz="2133"/>
              <a:t>Vierde niveau</a:t>
            </a:r>
          </a:p>
          <a:p>
            <a:pPr lvl="4"/>
            <a:r>
              <a:rPr lang="nl-NL" sz="2133"/>
              <a:t>Vijfde niveau</a:t>
            </a:r>
            <a:endParaRPr lang="nl-NL" sz="2133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13C4F1-36D1-45A6-AE27-272B3FF72BFB}"/>
              </a:ext>
            </a:extLst>
          </p:cNvPr>
          <p:cNvSpPr txBox="1">
            <a:spLocks/>
          </p:cNvSpPr>
          <p:nvPr userDrawn="1"/>
        </p:nvSpPr>
        <p:spPr>
          <a:xfrm>
            <a:off x="762000" y="934778"/>
            <a:ext cx="10449984" cy="6565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sz="4267"/>
              <a:t>Klik om een titel te maken</a:t>
            </a:r>
            <a:endParaRPr lang="nl-NL" sz="4267" dirty="0"/>
          </a:p>
        </p:txBody>
      </p:sp>
    </p:spTree>
    <p:extLst>
      <p:ext uri="{BB962C8B-B14F-4D97-AF65-F5344CB8AC3E}">
        <p14:creationId xmlns:p14="http://schemas.microsoft.com/office/powerpoint/2010/main" val="158137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700" r:id="rId19"/>
  </p:sldLayoutIdLs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507987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435064" indent="-4825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17652" indent="-4825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7540" indent="-4698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012" indent="-478355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3619" y="274639"/>
            <a:ext cx="11044767" cy="98488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/>
              <a:t>Klik om een</a:t>
            </a:r>
            <a:br>
              <a:rPr lang="nl-NL" noProof="0"/>
            </a:br>
            <a:r>
              <a:rPr lang="nl-NL" noProof="0"/>
              <a:t>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3618" y="1574800"/>
            <a:ext cx="11044767" cy="451643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/>
              <a:t>Eerste niveau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  <a:p>
            <a:pPr lvl="5"/>
            <a:r>
              <a:rPr lang="nl-NL" noProof="0"/>
              <a:t>Zes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3616" y="6484446"/>
            <a:ext cx="3860800" cy="1846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325" y="6335211"/>
            <a:ext cx="1693351" cy="3339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73584" y="6484446"/>
            <a:ext cx="2844800" cy="1846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1200" smtClean="0"/>
            </a:lvl1pPr>
          </a:lstStyle>
          <a:p>
            <a:fld id="{C4A17A47-099C-644B-A765-CB2A39A06C8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044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</p:sldLayoutIdLst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507987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435064" indent="-4825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17652" indent="-4825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87540" indent="-469888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012" indent="-478355" algn="l" defTabSz="121917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2.xml"/><Relationship Id="rId7" Type="http://schemas.openxmlformats.org/officeDocument/2006/relationships/oleObject" Target="../embeddings/oleObject9.bin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3.png"/><Relationship Id="rId4" Type="http://schemas.openxmlformats.org/officeDocument/2006/relationships/tags" Target="../tags/tag73.xml"/><Relationship Id="rId9" Type="http://schemas.openxmlformats.org/officeDocument/2006/relationships/image" Target="../media/image3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copper8.com/projects/materiaalvraag-woningbouw/" TargetMode="External"/><Relationship Id="rId5" Type="http://schemas.openxmlformats.org/officeDocument/2006/relationships/image" Target="../media/image35.png"/><Relationship Id="rId4" Type="http://schemas.openxmlformats.org/officeDocument/2006/relationships/customXml" Target="../ink/ink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biobasedinkopen.nl/" TargetMode="Externa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0.png"/><Relationship Id="rId3" Type="http://schemas.openxmlformats.org/officeDocument/2006/relationships/image" Target="../media/image40.png"/><Relationship Id="rId7" Type="http://schemas.openxmlformats.org/officeDocument/2006/relationships/customXml" Target="../ink/ink3.xml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80.png"/><Relationship Id="rId5" Type="http://schemas.openxmlformats.org/officeDocument/2006/relationships/customXml" Target="../ink/ink2.xml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opper8.com/projects/materiaalvraag-woningbouw/" TargetMode="Externa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anderhulstbouwbedrijf.nl/laten-zien-dat-circulair-bouwen-gewoon-kan/" TargetMode="External"/><Relationship Id="rId3" Type="http://schemas.openxmlformats.org/officeDocument/2006/relationships/hyperlink" Target="https://www.houtwereld.nl/duurzaamheid/kruislaaghout-gemaakt-van-oude-pallets/" TargetMode="External"/><Relationship Id="rId7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hyperlink" Target="https://overmorgen.nl/kompas-circulaire-gebiedsontwikkeling/" TargetMode="External"/><Relationship Id="rId10" Type="http://schemas.openxmlformats.org/officeDocument/2006/relationships/image" Target="../media/image47.png"/><Relationship Id="rId4" Type="http://schemas.openxmlformats.org/officeDocument/2006/relationships/image" Target="../media/image43.jpeg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757404" y="1612737"/>
            <a:ext cx="6163215" cy="584775"/>
          </a:xfrm>
        </p:spPr>
        <p:txBody>
          <a:bodyPr/>
          <a:lstStyle/>
          <a:p>
            <a:r>
              <a:rPr lang="nl-NL" sz="3200" dirty="0">
                <a:latin typeface="+mj-lt"/>
              </a:rPr>
              <a:t>Heel ZH </a:t>
            </a:r>
            <a:r>
              <a:rPr lang="nl-NL" sz="3200" dirty="0" err="1">
                <a:latin typeface="+mj-lt"/>
              </a:rPr>
              <a:t>biobased</a:t>
            </a:r>
            <a:r>
              <a:rPr lang="nl-NL" sz="3200" dirty="0">
                <a:latin typeface="+mj-lt"/>
              </a:rPr>
              <a:t>!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80F228A5-976E-495A-8BFF-51318EFA8A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86385" y="0"/>
            <a:ext cx="6858000" cy="6858000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6A04E275-4AF1-42EC-9D40-B80836FC34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456338" y="2273411"/>
            <a:ext cx="762066" cy="4584589"/>
          </a:xfrm>
          <a:prstGeom prst="rect">
            <a:avLst/>
          </a:prstGeom>
        </p:spPr>
      </p:pic>
      <p:sp>
        <p:nvSpPr>
          <p:cNvPr id="3" name="Subtitle 6">
            <a:extLst>
              <a:ext uri="{FF2B5EF4-FFF2-40B4-BE49-F238E27FC236}">
                <a16:creationId xmlns:a16="http://schemas.microsoft.com/office/drawing/2014/main" id="{42D2FC52-398A-EAEC-80B6-879A9580F308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57403" y="3806554"/>
            <a:ext cx="5832967" cy="1103444"/>
          </a:xfrm>
        </p:spPr>
        <p:txBody>
          <a:bodyPr/>
          <a:lstStyle/>
          <a:p>
            <a:r>
              <a:rPr lang="nl-NL" dirty="0"/>
              <a:t>Innovatienetwerken Biobased Bouwen</a:t>
            </a:r>
          </a:p>
          <a:p>
            <a:r>
              <a:rPr lang="nl-NL" dirty="0"/>
              <a:t>The Green </a:t>
            </a:r>
            <a:r>
              <a:rPr lang="nl-NL" dirty="0" err="1"/>
              <a:t>Village</a:t>
            </a:r>
            <a:r>
              <a:rPr lang="nl-NL" dirty="0"/>
              <a:t> 13 juni 2023</a:t>
            </a:r>
          </a:p>
        </p:txBody>
      </p:sp>
      <p:sp>
        <p:nvSpPr>
          <p:cNvPr id="4" name="Subtitle 6">
            <a:extLst>
              <a:ext uri="{FF2B5EF4-FFF2-40B4-BE49-F238E27FC236}">
                <a16:creationId xmlns:a16="http://schemas.microsoft.com/office/drawing/2014/main" id="{656E09C9-B8AA-C93D-EFAE-3924BB97141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57404" y="5553647"/>
            <a:ext cx="3546663" cy="5922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600" kern="1200">
                <a:solidFill>
                  <a:srgbClr val="281F6B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Gert-Willem van Mourik</a:t>
            </a:r>
          </a:p>
          <a:p>
            <a:r>
              <a:rPr lang="nl-NL" i="1" dirty="0"/>
              <a:t>Transitiemanager Circulair Bouwen</a:t>
            </a:r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FF079F-0732-EDB7-D15C-94794624573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4 regionale netwerken voor </a:t>
            </a:r>
            <a:r>
              <a:rPr lang="nl-NL" dirty="0" err="1"/>
              <a:t>biobased</a:t>
            </a:r>
            <a:r>
              <a:rPr lang="nl-NL" dirty="0"/>
              <a:t> bouw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4B96150-914A-5F39-51A4-980F46862E7C}"/>
              </a:ext>
            </a:extLst>
          </p:cNvPr>
          <p:cNvSpPr txBox="1">
            <a:spLocks/>
          </p:cNvSpPr>
          <p:nvPr/>
        </p:nvSpPr>
        <p:spPr>
          <a:xfrm>
            <a:off x="676275" y="1454150"/>
            <a:ext cx="71075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ueCity: 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lab voor de allernieuwste biobased bouw innovaties, hackathons en challeng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NL" sz="2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en Village: 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enetwerk voor </a:t>
            </a:r>
            <a:r>
              <a:rPr kumimoji="0" lang="nl-NL" sz="2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uwe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iobased bouwinnovati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NL" sz="2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rkelstad: 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itutionaliseren van circulair bouwen via methodiek </a:t>
            </a:r>
            <a:r>
              <a:rPr kumimoji="0" lang="nl-NL" sz="28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t Nieuwe Normaal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NL" sz="2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quarewise/DRIFT:</a:t>
            </a:r>
            <a:r>
              <a:rPr kumimoji="0" lang="nl-NL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ernieuwersnetwerk biobased bouwen als aanjager van de transitie</a:t>
            </a:r>
            <a:endParaRPr kumimoji="0" lang="nl-NL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A02B249-86FA-874D-C4B0-8A794041D6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1147" y="4630736"/>
            <a:ext cx="2164718" cy="1546227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1768A91-C883-CCF5-ED37-532577C458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3036" y="3407302"/>
            <a:ext cx="1276350" cy="1428750"/>
          </a:xfrm>
          <a:prstGeom prst="rect">
            <a:avLst/>
          </a:prstGeom>
        </p:spPr>
      </p:pic>
      <p:pic>
        <p:nvPicPr>
          <p:cNvPr id="6" name="Picture 8" descr="The Green Village">
            <a:extLst>
              <a:ext uri="{FF2B5EF4-FFF2-40B4-BE49-F238E27FC236}">
                <a16:creationId xmlns:a16="http://schemas.microsoft.com/office/drawing/2014/main" id="{AF06EA97-ED45-BC04-8B63-613393E23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736" y="2291014"/>
            <a:ext cx="3552251" cy="123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09D4BFBC-DF53-33A9-50B8-5F58493EB6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83858" y="1548729"/>
            <a:ext cx="1245528" cy="696651"/>
          </a:xfrm>
          <a:prstGeom prst="rect">
            <a:avLst/>
          </a:prstGeom>
        </p:spPr>
      </p:pic>
      <p:pic>
        <p:nvPicPr>
          <p:cNvPr id="9" name="Afbeelding 8" descr="Afbeelding met zwart, duisternis&#10;&#10;Automatisch gegenereerde beschrijving">
            <a:extLst>
              <a:ext uri="{FF2B5EF4-FFF2-40B4-BE49-F238E27FC236}">
                <a16:creationId xmlns:a16="http://schemas.microsoft.com/office/drawing/2014/main" id="{4A488430-CDAC-89FB-375D-22CE4C6163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275" y="4772887"/>
            <a:ext cx="2496135" cy="1404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088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20">
            <a:extLst>
              <a:ext uri="{FF2B5EF4-FFF2-40B4-BE49-F238E27FC236}">
                <a16:creationId xmlns:a16="http://schemas.microsoft.com/office/drawing/2014/main" id="{48E9C763-8FF4-5092-5340-607DDDF7B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663" y="1474192"/>
            <a:ext cx="11322205" cy="39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10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EE31A-79B8-C288-FE90-239C603B0D0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Programma</a:t>
            </a:r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C0A33313-DD87-2045-3201-6ED74F95DE73}"/>
              </a:ext>
            </a:extLst>
          </p:cNvPr>
          <p:cNvSpPr txBox="1">
            <a:spLocks/>
          </p:cNvSpPr>
          <p:nvPr/>
        </p:nvSpPr>
        <p:spPr>
          <a:xfrm>
            <a:off x="733425" y="149225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e provincie Zuid-Holland 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nl-NL" dirty="0" err="1">
                <a:solidFill>
                  <a:sysClr val="windowText" lastClr="000000"/>
                </a:solidFill>
                <a:latin typeface="Calibri" panose="020F0502020204030204"/>
              </a:rPr>
              <a:t>Pitches</a:t>
            </a: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 verschillende netwerken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 de slag!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ugkoppeling</a:t>
            </a:r>
          </a:p>
          <a:p>
            <a:pPr marL="514350" marR="0" lvl="0" indent="-5143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Lunch</a:t>
            </a:r>
            <a:endParaRPr kumimoji="0" lang="nl-NL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060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9141BB22-A5ED-60FE-6B60-44209EB3C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9268" y="1027906"/>
            <a:ext cx="5522732" cy="353377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5" name="Inkt 4">
                <a:extLst>
                  <a:ext uri="{FF2B5EF4-FFF2-40B4-BE49-F238E27FC236}">
                    <a16:creationId xmlns:a16="http://schemas.microsoft.com/office/drawing/2014/main" id="{8941D3F7-B5A0-ECA1-F54E-86148B792E9B}"/>
                  </a:ext>
                </a:extLst>
              </p14:cNvPr>
              <p14:cNvContentPartPr/>
              <p14:nvPr/>
            </p14:nvContentPartPr>
            <p14:xfrm>
              <a:off x="10399617" y="3659429"/>
              <a:ext cx="1685042" cy="701155"/>
            </p14:xfrm>
          </p:contentPart>
        </mc:Choice>
        <mc:Fallback xmlns="">
          <p:pic>
            <p:nvPicPr>
              <p:cNvPr id="5" name="Inkt 4">
                <a:extLst>
                  <a:ext uri="{FF2B5EF4-FFF2-40B4-BE49-F238E27FC236}">
                    <a16:creationId xmlns:a16="http://schemas.microsoft.com/office/drawing/2014/main" id="{8941D3F7-B5A0-ECA1-F54E-86148B792E9B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363620" y="3623435"/>
                <a:ext cx="1756677" cy="772782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kstvak 5">
            <a:extLst>
              <a:ext uri="{FF2B5EF4-FFF2-40B4-BE49-F238E27FC236}">
                <a16:creationId xmlns:a16="http://schemas.microsoft.com/office/drawing/2014/main" id="{0FA9D2C2-1AF9-636D-0CA3-6E4EC48E7E3C}"/>
              </a:ext>
            </a:extLst>
          </p:cNvPr>
          <p:cNvSpPr txBox="1"/>
          <p:nvPr/>
        </p:nvSpPr>
        <p:spPr>
          <a:xfrm>
            <a:off x="148890" y="1251012"/>
            <a:ext cx="6233561" cy="535531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Klimaatakkoord: Om binnen de 1,5° opwarming van de aarde te blijven mag de bouw nog 100 Mt CO</a:t>
            </a:r>
            <a:r>
              <a:rPr lang="nl-NL" baseline="-25000" dirty="0"/>
              <a:t>2</a:t>
            </a:r>
            <a:r>
              <a:rPr lang="nl-NL" dirty="0"/>
              <a:t> uitstoten. Daarna is het budget o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ie 100 Mt CO</a:t>
            </a:r>
            <a:r>
              <a:rPr lang="nl-NL" baseline="-25000" dirty="0"/>
              <a:t>2</a:t>
            </a:r>
            <a:r>
              <a:rPr lang="nl-NL" dirty="0"/>
              <a:t> voor de bouw is inclusief GWW en renovati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hlinkClick r:id="rId6"/>
              </a:rPr>
              <a:t>Er is berekend wat dit betekent voor de woningbouwopgave</a:t>
            </a:r>
            <a:r>
              <a:rPr lang="nl-NL" dirty="0"/>
              <a:t> (235.000 woningen in Zuid-Holland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poiler: Als we blijven bouwen zoals we deden dan gaat het niet lukk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en combinatie van strategieën zal nodig zijn om het carbonbudget en de milieu-impact van de bouw binnen de afspraken van het Klimaatakkoord te hou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et alleen inzetten op </a:t>
            </a:r>
            <a:r>
              <a:rPr lang="nl-NL" b="1" dirty="0" err="1"/>
              <a:t>biobased</a:t>
            </a:r>
            <a:r>
              <a:rPr lang="nl-NL" dirty="0"/>
              <a:t> (CO</a:t>
            </a:r>
            <a:r>
              <a:rPr lang="nl-NL" baseline="-25000" dirty="0"/>
              <a:t>2 </a:t>
            </a:r>
            <a:r>
              <a:rPr lang="nl-NL" dirty="0"/>
              <a:t>-opslag) en </a:t>
            </a:r>
            <a:r>
              <a:rPr lang="nl-NL" b="1" dirty="0"/>
              <a:t>hergebruik</a:t>
            </a:r>
            <a:r>
              <a:rPr lang="nl-NL" dirty="0"/>
              <a:t> (</a:t>
            </a:r>
            <a:r>
              <a:rPr lang="nl-NL" dirty="0" err="1"/>
              <a:t>urban</a:t>
            </a:r>
            <a:r>
              <a:rPr lang="nl-NL" dirty="0"/>
              <a:t> </a:t>
            </a:r>
            <a:r>
              <a:rPr lang="nl-NL" dirty="0" err="1"/>
              <a:t>mining</a:t>
            </a:r>
            <a:r>
              <a:rPr lang="nl-NL" dirty="0"/>
              <a:t>) komen we er niet. Er zal ook meer </a:t>
            </a:r>
            <a:r>
              <a:rPr lang="nl-NL" b="1" dirty="0"/>
              <a:t>industrieel</a:t>
            </a:r>
            <a:r>
              <a:rPr lang="nl-NL" dirty="0"/>
              <a:t> gebouwd moeten worden, en ingezet moeten worden op </a:t>
            </a:r>
            <a:r>
              <a:rPr lang="nl-NL" b="1" dirty="0"/>
              <a:t>transformatie</a:t>
            </a:r>
            <a:r>
              <a:rPr lang="nl-NL" dirty="0"/>
              <a:t> en </a:t>
            </a:r>
            <a:r>
              <a:rPr lang="nl-NL" b="1" dirty="0"/>
              <a:t>kleiner</a:t>
            </a:r>
            <a:r>
              <a:rPr lang="nl-NL" dirty="0"/>
              <a:t> won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4B389BF-3181-171E-1788-9B70E240BDE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Paris </a:t>
            </a:r>
            <a:r>
              <a:rPr lang="nl-NL" dirty="0" err="1"/>
              <a:t>Proof</a:t>
            </a:r>
            <a:r>
              <a:rPr lang="nl-NL" dirty="0"/>
              <a:t> Bouwen…</a:t>
            </a:r>
          </a:p>
        </p:txBody>
      </p:sp>
      <p:sp>
        <p:nvSpPr>
          <p:cNvPr id="8" name="Tijdelijke aanduiding voor inhoud 2">
            <a:hlinkClick r:id="rId6"/>
            <a:extLst>
              <a:ext uri="{FF2B5EF4-FFF2-40B4-BE49-F238E27FC236}">
                <a16:creationId xmlns:a16="http://schemas.microsoft.com/office/drawing/2014/main" id="{389FAEE6-DCA8-5CD2-811C-B908C7CFDECA}"/>
              </a:ext>
            </a:extLst>
          </p:cNvPr>
          <p:cNvSpPr txBox="1">
            <a:spLocks/>
          </p:cNvSpPr>
          <p:nvPr/>
        </p:nvSpPr>
        <p:spPr>
          <a:xfrm>
            <a:off x="7240768" y="5830094"/>
            <a:ext cx="4113032" cy="5942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sz="1600" i="1" dirty="0">
                <a:solidFill>
                  <a:sysClr val="windowText" lastClr="000000"/>
                </a:solidFill>
                <a:latin typeface="Calibri" panose="020F0502020204030204"/>
              </a:rPr>
              <a:t>De materiaalvraag is berekend door de bureaus Copper8, </a:t>
            </a:r>
            <a:r>
              <a:rPr lang="nl-NL" sz="1600" i="1" dirty="0" err="1">
                <a:solidFill>
                  <a:sysClr val="windowText" lastClr="000000"/>
                </a:solidFill>
                <a:latin typeface="Calibri" panose="020F0502020204030204"/>
              </a:rPr>
              <a:t>Metabolic</a:t>
            </a:r>
            <a:r>
              <a:rPr lang="nl-NL" sz="1600" i="1" dirty="0">
                <a:solidFill>
                  <a:sysClr val="windowText" lastClr="000000"/>
                </a:solidFill>
                <a:latin typeface="Calibri" panose="020F0502020204030204"/>
              </a:rPr>
              <a:t>, Alba en NIBE</a:t>
            </a:r>
            <a:endParaRPr kumimoji="0" lang="nl-NL" sz="16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2080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E988F839-ED12-49B3-BE67-5A9D81DAF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C24F8-B44B-4E29-B0CA-2A0D4724DA7B}" type="slidenum">
              <a:rPr lang="nl-NL" smtClean="0"/>
              <a:t>4</a:t>
            </a:fld>
            <a:endParaRPr lang="nl-NL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E09CD2C-B518-88D6-A607-794ED9055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88900"/>
            <a:ext cx="11785600" cy="668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7653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EE31A-79B8-C288-FE90-239C603B0D0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Versnellen betekent…</a:t>
            </a:r>
          </a:p>
        </p:txBody>
      </p:sp>
      <p:sp>
        <p:nvSpPr>
          <p:cNvPr id="4" name="Tijdelijke aanduiding voor inhoud 2">
            <a:extLst>
              <a:ext uri="{FF2B5EF4-FFF2-40B4-BE49-F238E27FC236}">
                <a16:creationId xmlns:a16="http://schemas.microsoft.com/office/drawing/2014/main" id="{C0A33313-DD87-2045-3201-6ED74F95DE73}"/>
              </a:ext>
            </a:extLst>
          </p:cNvPr>
          <p:cNvSpPr txBox="1">
            <a:spLocks/>
          </p:cNvSpPr>
          <p:nvPr/>
        </p:nvSpPr>
        <p:spPr>
          <a:xfrm>
            <a:off x="733425" y="149225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ere en betere afspraken maken voor bestaande en nieuwbouw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rf prestaties uit te vragen als provincie voor toekomstbestendig bouwen bij gebiedsontwikkeling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rgen in bestuurlijke afsprak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schaling netwerken voor </a:t>
            </a:r>
            <a:r>
              <a:rPr kumimoji="0" lang="nl-NL" sz="2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obased</a:t>
            </a: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circulair bouw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elpunten in het systeem identificeren en oplossen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 de hand van doorbraakprojecten gerichte (rijks)beïnvloeding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rculair en Biobased (blijven) inkopen als provinci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9446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25422817-ECCA-2A48-6B6A-4E75190A8D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5400" y="4029822"/>
            <a:ext cx="4940300" cy="2470150"/>
          </a:xfrm>
          <a:prstGeom prst="rect">
            <a:avLst/>
          </a:prstGeom>
        </p:spPr>
      </p:pic>
      <p:pic>
        <p:nvPicPr>
          <p:cNvPr id="3" name="Afbeelding 2">
            <a:hlinkClick r:id="rId3"/>
            <a:extLst>
              <a:ext uri="{FF2B5EF4-FFF2-40B4-BE49-F238E27FC236}">
                <a16:creationId xmlns:a16="http://schemas.microsoft.com/office/drawing/2014/main" id="{0A683798-10CC-13B2-E1CB-925827BC41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4593" y="335372"/>
            <a:ext cx="2673353" cy="3384212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C4BF2505-BD64-B444-BB32-547FA734713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/>
              <a:t>Highlights</a:t>
            </a:r>
            <a:r>
              <a:rPr lang="nl-NL" dirty="0"/>
              <a:t> intern</a:t>
            </a:r>
          </a:p>
        </p:txBody>
      </p:sp>
      <p:sp>
        <p:nvSpPr>
          <p:cNvPr id="5" name="Tijdelijke aanduiding voor inhoud 2">
            <a:extLst>
              <a:ext uri="{FF2B5EF4-FFF2-40B4-BE49-F238E27FC236}">
                <a16:creationId xmlns:a16="http://schemas.microsoft.com/office/drawing/2014/main" id="{58C66231-87D0-BCF8-4600-ED50726B8489}"/>
              </a:ext>
            </a:extLst>
          </p:cNvPr>
          <p:cNvSpPr txBox="1">
            <a:spLocks/>
          </p:cNvSpPr>
          <p:nvPr/>
        </p:nvSpPr>
        <p:spPr>
          <a:xfrm>
            <a:off x="635000" y="1635125"/>
            <a:ext cx="57404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venant toekomstbestendig Bouw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gevingsbeleid: beleidskeuze toekomstbestendig bouw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satieafspraken woningbouw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Biobased inkop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Subsidieregeling doorbraakprojecten</a:t>
            </a:r>
            <a:endParaRPr kumimoji="0" lang="nl-NL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5991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kleding, meubels, overdekt, bureau&#10;&#10;Automatisch gegenereerde beschrijving">
            <a:extLst>
              <a:ext uri="{FF2B5EF4-FFF2-40B4-BE49-F238E27FC236}">
                <a16:creationId xmlns:a16="http://schemas.microsoft.com/office/drawing/2014/main" id="{C5FFC6CC-B40C-22D5-53AF-BDCB0C5FE1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19991"/>
            <a:ext cx="6400800" cy="3842191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F54D53F4-EAA2-AB3C-B175-3D96D3FBB2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8545118" cy="27721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0E225AD-AA7F-E75E-AB1F-B44C949F20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0400" y="4793438"/>
            <a:ext cx="8611802" cy="18290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2" name="Inkt 11">
                <a:extLst>
                  <a:ext uri="{FF2B5EF4-FFF2-40B4-BE49-F238E27FC236}">
                    <a16:creationId xmlns:a16="http://schemas.microsoft.com/office/drawing/2014/main" id="{E7CDCFF3-938B-ACD0-1834-4070C183BCAF}"/>
                  </a:ext>
                </a:extLst>
              </p14:cNvPr>
              <p14:cNvContentPartPr/>
              <p14:nvPr/>
            </p14:nvContentPartPr>
            <p14:xfrm>
              <a:off x="3319560" y="5513234"/>
              <a:ext cx="6470280" cy="100440"/>
            </p14:xfrm>
          </p:contentPart>
        </mc:Choice>
        <mc:Fallback xmlns="">
          <p:pic>
            <p:nvPicPr>
              <p:cNvPr id="12" name="Inkt 11">
                <a:extLst>
                  <a:ext uri="{FF2B5EF4-FFF2-40B4-BE49-F238E27FC236}">
                    <a16:creationId xmlns:a16="http://schemas.microsoft.com/office/drawing/2014/main" id="{E7CDCFF3-938B-ACD0-1834-4070C183BCAF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265560" y="5405234"/>
                <a:ext cx="6577920" cy="316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3" name="Inkt 12">
                <a:extLst>
                  <a:ext uri="{FF2B5EF4-FFF2-40B4-BE49-F238E27FC236}">
                    <a16:creationId xmlns:a16="http://schemas.microsoft.com/office/drawing/2014/main" id="{1A0AD8E5-B205-79F8-A603-212AE8A48AE5}"/>
                  </a:ext>
                </a:extLst>
              </p14:cNvPr>
              <p14:cNvContentPartPr/>
              <p14:nvPr/>
            </p14:nvContentPartPr>
            <p14:xfrm>
              <a:off x="4332240" y="6131714"/>
              <a:ext cx="1490040" cy="16560"/>
            </p14:xfrm>
          </p:contentPart>
        </mc:Choice>
        <mc:Fallback xmlns="">
          <p:pic>
            <p:nvPicPr>
              <p:cNvPr id="13" name="Inkt 12">
                <a:extLst>
                  <a:ext uri="{FF2B5EF4-FFF2-40B4-BE49-F238E27FC236}">
                    <a16:creationId xmlns:a16="http://schemas.microsoft.com/office/drawing/2014/main" id="{1A0AD8E5-B205-79F8-A603-212AE8A48AE5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278600" y="6024074"/>
                <a:ext cx="1597680" cy="232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73657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A531113-BC6B-A72E-BD6B-79B9DF82A7E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Subsidieregeling doorbraakprojecten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1E65ADFE-F8F5-477E-5CAB-88CC5E2C0AEC}"/>
              </a:ext>
            </a:extLst>
          </p:cNvPr>
          <p:cNvSpPr txBox="1">
            <a:spLocks/>
          </p:cNvSpPr>
          <p:nvPr/>
        </p:nvSpPr>
        <p:spPr>
          <a:xfrm>
            <a:off x="467732" y="1583473"/>
            <a:ext cx="5628268" cy="43378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Kenmerk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500k in de pot</a:t>
            </a:r>
          </a:p>
          <a:p>
            <a:pPr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Max. €125.000 per projec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Transitieagenda BBB: Vezelhubs / </a:t>
            </a:r>
            <a:r>
              <a:rPr lang="nl-NL" dirty="0" err="1">
                <a:solidFill>
                  <a:sysClr val="windowText" lastClr="000000"/>
                </a:solidFill>
                <a:latin typeface="Calibri" panose="020F0502020204030204"/>
              </a:rPr>
              <a:t>biobased</a:t>
            </a: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 alternatiev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Gericht op doorbrak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Vernieuwend (3x), impact (2x) &amp; haalbaar (1x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Je doet het samen</a:t>
            </a:r>
          </a:p>
        </p:txBody>
      </p:sp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F5266D87-3A52-3DB6-5523-5C08D41E887F}"/>
              </a:ext>
            </a:extLst>
          </p:cNvPr>
          <p:cNvSpPr txBox="1">
            <a:spLocks/>
          </p:cNvSpPr>
          <p:nvPr/>
        </p:nvSpPr>
        <p:spPr>
          <a:xfrm>
            <a:off x="6301678" y="2114626"/>
            <a:ext cx="5052122" cy="291457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Planning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Juni: openstellingsbesluit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3 augustus: Q&amp;A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Aug-okt: aanvragen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Eind oktober: beoordeling door adviescommissie</a:t>
            </a: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>
                <a:solidFill>
                  <a:sysClr val="windowText" lastClr="000000"/>
                </a:solidFill>
                <a:latin typeface="Calibri" panose="020F0502020204030204"/>
              </a:rPr>
              <a:t>Nov-dec: verlening subsidie</a:t>
            </a:r>
          </a:p>
        </p:txBody>
      </p:sp>
      <p:sp>
        <p:nvSpPr>
          <p:cNvPr id="9" name="Tijdelijke aanduiding voor inhoud 2">
            <a:hlinkClick r:id="rId2"/>
            <a:extLst>
              <a:ext uri="{FF2B5EF4-FFF2-40B4-BE49-F238E27FC236}">
                <a16:creationId xmlns:a16="http://schemas.microsoft.com/office/drawing/2014/main" id="{374D8A56-649C-BF37-5714-7EC98C077A40}"/>
              </a:ext>
            </a:extLst>
          </p:cNvPr>
          <p:cNvSpPr txBox="1">
            <a:spLocks/>
          </p:cNvSpPr>
          <p:nvPr/>
        </p:nvSpPr>
        <p:spPr>
          <a:xfrm>
            <a:off x="8731404" y="6053118"/>
            <a:ext cx="2878873" cy="59427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sz="1600" i="1" dirty="0">
                <a:solidFill>
                  <a:sysClr val="windowText" lastClr="000000"/>
                </a:solidFill>
                <a:latin typeface="Calibri" panose="020F0502020204030204"/>
              </a:rPr>
              <a:t>Aan de informatie op deze sheet kunnen geen rechten ontleend worden.</a:t>
            </a:r>
            <a:endParaRPr kumimoji="0" lang="nl-NL" sz="1600" b="0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738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AE66F2-48AF-6D2D-36B1-1BE07CAEA21F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/>
              <a:t>Highlights exter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6453493-C917-B8D4-9694-E3A593519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2725" y="3998794"/>
            <a:ext cx="5715000" cy="2857500"/>
          </a:xfrm>
          <a:prstGeom prst="rect">
            <a:avLst/>
          </a:prstGeom>
        </p:spPr>
      </p:pic>
      <p:pic>
        <p:nvPicPr>
          <p:cNvPr id="4" name="Picture 4" descr="No alt text provided for this image">
            <a:hlinkClick r:id="rId3"/>
            <a:extLst>
              <a:ext uri="{FF2B5EF4-FFF2-40B4-BE49-F238E27FC236}">
                <a16:creationId xmlns:a16="http://schemas.microsoft.com/office/drawing/2014/main" id="{83BD8B38-C9B3-12F3-6881-50D5E65BB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0"/>
            <a:ext cx="5331725" cy="3998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>
            <a:hlinkClick r:id="rId5"/>
            <a:extLst>
              <a:ext uri="{FF2B5EF4-FFF2-40B4-BE49-F238E27FC236}">
                <a16:creationId xmlns:a16="http://schemas.microsoft.com/office/drawing/2014/main" id="{0653BF78-7418-AA67-7933-F6A5A04183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93700" y="1498515"/>
            <a:ext cx="5715000" cy="2857500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C3ECD267-4267-5EC2-343D-CC0BF3ED01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81351" y="288173"/>
            <a:ext cx="2986358" cy="819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Afbeelding 6">
            <a:hlinkClick r:id="rId8"/>
            <a:extLst>
              <a:ext uri="{FF2B5EF4-FFF2-40B4-BE49-F238E27FC236}">
                <a16:creationId xmlns:a16="http://schemas.microsoft.com/office/drawing/2014/main" id="{E68C580E-DF94-216D-9F32-97C7EE5BEE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5259" y="4233630"/>
            <a:ext cx="3165962" cy="7144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6A426D9B-A604-A48B-9ADF-588A12369B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09536" y="4522793"/>
            <a:ext cx="3953369" cy="1673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600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heme/theme1.xml><?xml version="1.0" encoding="utf-8"?>
<a:theme xmlns:a="http://schemas.openxmlformats.org/drawingml/2006/main" name="1_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PZH_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ZH_theme" id="{B152A118-AD6D-4948-8561-2312B321107B}" vid="{18446BDB-69F1-3D4C-A77A-1B035E2486F7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52ff95a-20f3-4f99-8e09-f6843fb9683a">
      <UserInfo>
        <DisplayName>Pascal van Dam</DisplayName>
        <AccountId>12</AccountId>
        <AccountType/>
      </UserInfo>
    </SharedWithUsers>
    <lcf76f155ced4ddcb4097134ff3c332f xmlns="cba9fefb-be2c-45a5-ba36-00d983dd8d91">
      <Terms xmlns="http://schemas.microsoft.com/office/infopath/2007/PartnerControls"/>
    </lcf76f155ced4ddcb4097134ff3c332f>
    <TaxCatchAll xmlns="152ff95a-20f3-4f99-8e09-f6843fb9683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12D16CEF3E4B448F96152C796C6A2A" ma:contentTypeVersion="15" ma:contentTypeDescription="Een nieuw document maken." ma:contentTypeScope="" ma:versionID="ddb6afa4cc779b8999d0715449536fef">
  <xsd:schema xmlns:xsd="http://www.w3.org/2001/XMLSchema" xmlns:xs="http://www.w3.org/2001/XMLSchema" xmlns:p="http://schemas.microsoft.com/office/2006/metadata/properties" xmlns:ns2="cba9fefb-be2c-45a5-ba36-00d983dd8d91" xmlns:ns3="152ff95a-20f3-4f99-8e09-f6843fb9683a" targetNamespace="http://schemas.microsoft.com/office/2006/metadata/properties" ma:root="true" ma:fieldsID="564effca72701f6f033d0aca27d2b45e" ns2:_="" ns3:_="">
    <xsd:import namespace="cba9fefb-be2c-45a5-ba36-00d983dd8d91"/>
    <xsd:import namespace="152ff95a-20f3-4f99-8e09-f6843fb968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9fefb-be2c-45a5-ba36-00d983dd8d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Afbeeldingtags" ma:readOnly="false" ma:fieldId="{5cf76f15-5ced-4ddc-b409-7134ff3c332f}" ma:taxonomyMulti="true" ma:sspId="732fc712-2bd4-42e2-81dd-da25e1b169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2ff95a-20f3-4f99-8e09-f6843fb9683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053349e-e9a9-4dd2-80a4-150ac6f0d300}" ma:internalName="TaxCatchAll" ma:showField="CatchAllData" ma:web="152ff95a-20f3-4f99-8e09-f6843fb968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1DCC3D8-24D1-4995-B01C-0DDA0C6AD3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52C138-F744-4ED1-A8FD-E01C8A7253E8}">
  <ds:schemaRefs>
    <ds:schemaRef ds:uri="http://schemas.microsoft.com/office/2006/metadata/properties"/>
    <ds:schemaRef ds:uri="http://schemas.microsoft.com/office/infopath/2007/PartnerControls"/>
    <ds:schemaRef ds:uri="152ff95a-20f3-4f99-8e09-f6843fb9683a"/>
    <ds:schemaRef ds:uri="cba9fefb-be2c-45a5-ba36-00d983dd8d91"/>
  </ds:schemaRefs>
</ds:datastoreItem>
</file>

<file path=customXml/itemProps3.xml><?xml version="1.0" encoding="utf-8"?>
<ds:datastoreItem xmlns:ds="http://schemas.openxmlformats.org/officeDocument/2006/customXml" ds:itemID="{D19C9C2E-71AA-416E-93BD-761B82200B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a9fefb-be2c-45a5-ba36-00d983dd8d91"/>
    <ds:schemaRef ds:uri="152ff95a-20f3-4f99-8e09-f6843fb968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90</TotalTime>
  <Words>534</Words>
  <Application>Microsoft Office PowerPoint</Application>
  <PresentationFormat>Breedbeeld</PresentationFormat>
  <Paragraphs>67</Paragraphs>
  <Slides>11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8" baseType="lpstr">
      <vt:lpstr>Arial</vt:lpstr>
      <vt:lpstr>Calibri</vt:lpstr>
      <vt:lpstr>Georgia</vt:lpstr>
      <vt:lpstr>Wingdings</vt:lpstr>
      <vt:lpstr>1_Provincie Zuid Holland 16x9</vt:lpstr>
      <vt:lpstr>PZH_theme</vt:lpstr>
      <vt:lpstr>think-cell Slide</vt:lpstr>
      <vt:lpstr>Heel ZH biobased!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rculair Zuid-Holland: Samen versnellen</dc:title>
  <dc:creator>Robert Tekke</dc:creator>
  <cp:lastModifiedBy>Pascal van Dam</cp:lastModifiedBy>
  <cp:revision>134</cp:revision>
  <dcterms:created xsi:type="dcterms:W3CDTF">2021-03-24T09:46:24Z</dcterms:created>
  <dcterms:modified xsi:type="dcterms:W3CDTF">2023-06-13T14:0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12D16CEF3E4B448F96152C796C6A2A</vt:lpwstr>
  </property>
  <property fmtid="{D5CDD505-2E9C-101B-9397-08002B2CF9AE}" pid="3" name="MediaServiceImageTags">
    <vt:lpwstr/>
  </property>
</Properties>
</file>